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4"/>
    <p:sldMasterId id="2147483701" r:id="rId5"/>
    <p:sldMasterId id="2147483648" r:id="rId6"/>
  </p:sldMasterIdLst>
  <p:notesMasterIdLst>
    <p:notesMasterId r:id="rId14"/>
  </p:notesMasterIdLst>
  <p:sldIdLst>
    <p:sldId id="141169466" r:id="rId7"/>
    <p:sldId id="141169463" r:id="rId8"/>
    <p:sldId id="141169469" r:id="rId9"/>
    <p:sldId id="141169464" r:id="rId10"/>
    <p:sldId id="141169470" r:id="rId11"/>
    <p:sldId id="141169475" r:id="rId12"/>
    <p:sldId id="141169471"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63"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Beecroft" initials="MB" lastIdx="4" clrIdx="0">
    <p:extLst>
      <p:ext uri="{19B8F6BF-5375-455C-9EA6-DF929625EA0E}">
        <p15:presenceInfo xmlns:p15="http://schemas.microsoft.com/office/powerpoint/2012/main" userId="S::martin@bkgr.se::ba706552-e779-4d24-9165-02bcd10144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450" autoAdjust="0"/>
    <p:restoredTop sz="81315" autoAdjust="0"/>
  </p:normalViewPr>
  <p:slideViewPr>
    <p:cSldViewPr snapToGrid="0">
      <p:cViewPr varScale="1">
        <p:scale>
          <a:sx n="70" d="100"/>
          <a:sy n="70" d="100"/>
        </p:scale>
        <p:origin x="826" y="43"/>
      </p:cViewPr>
      <p:guideLst>
        <p:guide orient="horz" pos="246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ssen, Niels" userId="S::niels.lassen@skanska.no::95a7555d-0308-48a8-9f91-843618b09e98" providerId="AD" clId="Web-{DD22C046-77B2-499B-9407-B50082BB5BC6}"/>
    <pc:docChg chg="addSld delSld modSld addMainMaster modMainMaster">
      <pc:chgData name="Lassen, Niels" userId="S::niels.lassen@skanska.no::95a7555d-0308-48a8-9f91-843618b09e98" providerId="AD" clId="Web-{DD22C046-77B2-499B-9407-B50082BB5BC6}" dt="2022-10-20T13:41:37.936" v="11"/>
      <pc:docMkLst>
        <pc:docMk/>
      </pc:docMkLst>
      <pc:sldChg chg="addSp modSp">
        <pc:chgData name="Lassen, Niels" userId="S::niels.lassen@skanska.no::95a7555d-0308-48a8-9f91-843618b09e98" providerId="AD" clId="Web-{DD22C046-77B2-499B-9407-B50082BB5BC6}" dt="2022-10-20T13:40:55.168" v="9" actId="1076"/>
        <pc:sldMkLst>
          <pc:docMk/>
          <pc:sldMk cId="1746071922" sldId="141169471"/>
        </pc:sldMkLst>
        <pc:picChg chg="add mod">
          <ac:chgData name="Lassen, Niels" userId="S::niels.lassen@skanska.no::95a7555d-0308-48a8-9f91-843618b09e98" providerId="AD" clId="Web-{DD22C046-77B2-499B-9407-B50082BB5BC6}" dt="2022-10-20T13:40:55.168" v="9" actId="1076"/>
          <ac:picMkLst>
            <pc:docMk/>
            <pc:sldMk cId="1746071922" sldId="141169471"/>
            <ac:picMk id="2" creationId="{CFACCE79-349E-0FC4-EFCA-1828FC08C0EC}"/>
          </ac:picMkLst>
        </pc:picChg>
      </pc:sldChg>
      <pc:sldChg chg="del">
        <pc:chgData name="Lassen, Niels" userId="S::niels.lassen@skanska.no::95a7555d-0308-48a8-9f91-843618b09e98" providerId="AD" clId="Web-{DD22C046-77B2-499B-9407-B50082BB5BC6}" dt="2022-10-20T13:41:37.936" v="11"/>
        <pc:sldMkLst>
          <pc:docMk/>
          <pc:sldMk cId="1468128040" sldId="141169474"/>
        </pc:sldMkLst>
      </pc:sldChg>
      <pc:sldChg chg="add">
        <pc:chgData name="Lassen, Niels" userId="S::niels.lassen@skanska.no::95a7555d-0308-48a8-9f91-843618b09e98" providerId="AD" clId="Web-{DD22C046-77B2-499B-9407-B50082BB5BC6}" dt="2022-10-20T13:41:27.092" v="10"/>
        <pc:sldMkLst>
          <pc:docMk/>
          <pc:sldMk cId="1390985826" sldId="141169476"/>
        </pc:sldMkLst>
      </pc:sldChg>
      <pc:sldMasterChg chg="add addSldLayout">
        <pc:chgData name="Lassen, Niels" userId="S::niels.lassen@skanska.no::95a7555d-0308-48a8-9f91-843618b09e98" providerId="AD" clId="Web-{DD22C046-77B2-499B-9407-B50082BB5BC6}" dt="2022-10-20T13:41:27.092" v="10"/>
        <pc:sldMasterMkLst>
          <pc:docMk/>
          <pc:sldMasterMk cId="0" sldId="2147483648"/>
        </pc:sldMasterMkLst>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49"/>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0"/>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1"/>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2"/>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3"/>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4"/>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5"/>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6"/>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7"/>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8"/>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59"/>
          </pc:sldLayoutMkLst>
        </pc:sldLayoutChg>
        <pc:sldLayoutChg chg="add">
          <pc:chgData name="Lassen, Niels" userId="S::niels.lassen@skanska.no::95a7555d-0308-48a8-9f91-843618b09e98" providerId="AD" clId="Web-{DD22C046-77B2-499B-9407-B50082BB5BC6}" dt="2022-10-20T13:41:27.092" v="10"/>
          <pc:sldLayoutMkLst>
            <pc:docMk/>
            <pc:sldMasterMk cId="0" sldId="2147483648"/>
            <pc:sldLayoutMk cId="0" sldId="2147483660"/>
          </pc:sldLayoutMkLst>
        </pc:sldLayoutChg>
      </pc:sldMasterChg>
      <pc:sldMasterChg chg="replId modSldLayout">
        <pc:chgData name="Lassen, Niels" userId="S::niels.lassen@skanska.no::95a7555d-0308-48a8-9f91-843618b09e98" providerId="AD" clId="Web-{DD22C046-77B2-499B-9407-B50082BB5BC6}" dt="2022-10-20T13:41:27.092" v="10"/>
        <pc:sldMasterMkLst>
          <pc:docMk/>
          <pc:sldMasterMk cId="2733114217" sldId="2147483737"/>
        </pc:sldMasterMkLst>
        <pc:sldLayoutChg chg="replId">
          <pc:chgData name="Lassen, Niels" userId="S::niels.lassen@skanska.no::95a7555d-0308-48a8-9f91-843618b09e98" providerId="AD" clId="Web-{DD22C046-77B2-499B-9407-B50082BB5BC6}" dt="2022-10-20T13:41:27.092" v="10"/>
          <pc:sldLayoutMkLst>
            <pc:docMk/>
            <pc:sldMasterMk cId="2733114217" sldId="2147483737"/>
            <pc:sldLayoutMk cId="1751435555" sldId="2147483738"/>
          </pc:sldLayoutMkLst>
        </pc:sldLayoutChg>
        <pc:sldLayoutChg chg="replId">
          <pc:chgData name="Lassen, Niels" userId="S::niels.lassen@skanska.no::95a7555d-0308-48a8-9f91-843618b09e98" providerId="AD" clId="Web-{DD22C046-77B2-499B-9407-B50082BB5BC6}" dt="2022-10-20T13:41:27.092" v="10"/>
          <pc:sldLayoutMkLst>
            <pc:docMk/>
            <pc:sldMasterMk cId="2733114217" sldId="2147483737"/>
            <pc:sldLayoutMk cId="4086780488" sldId="2147483739"/>
          </pc:sldLayoutMkLst>
        </pc:sldLayoutChg>
        <pc:sldLayoutChg chg="replId">
          <pc:chgData name="Lassen, Niels" userId="S::niels.lassen@skanska.no::95a7555d-0308-48a8-9f91-843618b09e98" providerId="AD" clId="Web-{DD22C046-77B2-499B-9407-B50082BB5BC6}" dt="2022-10-20T13:41:27.092" v="10"/>
          <pc:sldLayoutMkLst>
            <pc:docMk/>
            <pc:sldMasterMk cId="2733114217" sldId="2147483737"/>
            <pc:sldLayoutMk cId="3367839130" sldId="2147483740"/>
          </pc:sldLayoutMkLst>
        </pc:sldLayoutChg>
        <pc:sldLayoutChg chg="replId">
          <pc:chgData name="Lassen, Niels" userId="S::niels.lassen@skanska.no::95a7555d-0308-48a8-9f91-843618b09e98" providerId="AD" clId="Web-{DD22C046-77B2-499B-9407-B50082BB5BC6}" dt="2022-10-20T13:41:27.092" v="10"/>
          <pc:sldLayoutMkLst>
            <pc:docMk/>
            <pc:sldMasterMk cId="2733114217" sldId="2147483737"/>
            <pc:sldLayoutMk cId="2633942408" sldId="2147483741"/>
          </pc:sldLayoutMkLst>
        </pc:sldLayoutChg>
        <pc:sldLayoutChg chg="replId">
          <pc:chgData name="Lassen, Niels" userId="S::niels.lassen@skanska.no::95a7555d-0308-48a8-9f91-843618b09e98" providerId="AD" clId="Web-{DD22C046-77B2-499B-9407-B50082BB5BC6}" dt="2022-10-20T13:41:27.092" v="10"/>
          <pc:sldLayoutMkLst>
            <pc:docMk/>
            <pc:sldMasterMk cId="2733114217" sldId="2147483737"/>
            <pc:sldLayoutMk cId="3606760575" sldId="2147483742"/>
          </pc:sldLayoutMkLst>
        </pc:sldLayoutChg>
        <pc:sldLayoutChg chg="replId">
          <pc:chgData name="Lassen, Niels" userId="S::niels.lassen@skanska.no::95a7555d-0308-48a8-9f91-843618b09e98" providerId="AD" clId="Web-{DD22C046-77B2-499B-9407-B50082BB5BC6}" dt="2022-10-20T13:41:27.092" v="10"/>
          <pc:sldLayoutMkLst>
            <pc:docMk/>
            <pc:sldMasterMk cId="2733114217" sldId="2147483737"/>
            <pc:sldLayoutMk cId="878548948" sldId="2147483743"/>
          </pc:sldLayoutMkLst>
        </pc:sldLayoutChg>
        <pc:sldLayoutChg chg="replId">
          <pc:chgData name="Lassen, Niels" userId="S::niels.lassen@skanska.no::95a7555d-0308-48a8-9f91-843618b09e98" providerId="AD" clId="Web-{DD22C046-77B2-499B-9407-B50082BB5BC6}" dt="2022-10-20T13:41:27.092" v="10"/>
          <pc:sldLayoutMkLst>
            <pc:docMk/>
            <pc:sldMasterMk cId="2733114217" sldId="2147483737"/>
            <pc:sldLayoutMk cId="2411960110" sldId="2147483744"/>
          </pc:sldLayoutMkLst>
        </pc:sldLayoutChg>
        <pc:sldLayoutChg chg="replId">
          <pc:chgData name="Lassen, Niels" userId="S::niels.lassen@skanska.no::95a7555d-0308-48a8-9f91-843618b09e98" providerId="AD" clId="Web-{DD22C046-77B2-499B-9407-B50082BB5BC6}" dt="2022-10-20T13:41:27.092" v="10"/>
          <pc:sldLayoutMkLst>
            <pc:docMk/>
            <pc:sldMasterMk cId="2733114217" sldId="2147483737"/>
            <pc:sldLayoutMk cId="3738687961" sldId="2147483745"/>
          </pc:sldLayoutMkLst>
        </pc:sldLayoutChg>
        <pc:sldLayoutChg chg="replId">
          <pc:chgData name="Lassen, Niels" userId="S::niels.lassen@skanska.no::95a7555d-0308-48a8-9f91-843618b09e98" providerId="AD" clId="Web-{DD22C046-77B2-499B-9407-B50082BB5BC6}" dt="2022-10-20T13:41:27.092" v="10"/>
          <pc:sldLayoutMkLst>
            <pc:docMk/>
            <pc:sldMasterMk cId="2733114217" sldId="2147483737"/>
            <pc:sldLayoutMk cId="1371477816" sldId="2147483746"/>
          </pc:sldLayoutMkLst>
        </pc:sldLayoutChg>
        <pc:sldLayoutChg chg="replId">
          <pc:chgData name="Lassen, Niels" userId="S::niels.lassen@skanska.no::95a7555d-0308-48a8-9f91-843618b09e98" providerId="AD" clId="Web-{DD22C046-77B2-499B-9407-B50082BB5BC6}" dt="2022-10-20T13:41:27.092" v="10"/>
          <pc:sldLayoutMkLst>
            <pc:docMk/>
            <pc:sldMasterMk cId="2733114217" sldId="2147483737"/>
            <pc:sldLayoutMk cId="1515550526" sldId="2147483747"/>
          </pc:sldLayoutMkLst>
        </pc:sldLayoutChg>
      </pc:sldMasterChg>
    </pc:docChg>
  </pc:docChgLst>
  <pc:docChgLst>
    <pc:chgData name="Lassen, Niels" userId="S::niels.lassen@skanska.no::95a7555d-0308-48a8-9f91-843618b09e98" providerId="AD" clId="Web-{FF48CDD6-DC5B-45F5-8545-29B17DA28CCB}"/>
    <pc:docChg chg="modSld">
      <pc:chgData name="Lassen, Niels" userId="S::niels.lassen@skanska.no::95a7555d-0308-48a8-9f91-843618b09e98" providerId="AD" clId="Web-{FF48CDD6-DC5B-45F5-8545-29B17DA28CCB}" dt="2022-10-21T09:14:59.287" v="0"/>
      <pc:docMkLst>
        <pc:docMk/>
      </pc:docMkLst>
      <pc:sldChg chg="modNotes">
        <pc:chgData name="Lassen, Niels" userId="S::niels.lassen@skanska.no::95a7555d-0308-48a8-9f91-843618b09e98" providerId="AD" clId="Web-{FF48CDD6-DC5B-45F5-8545-29B17DA28CCB}" dt="2022-10-21T09:14:59.287" v="0"/>
        <pc:sldMkLst>
          <pc:docMk/>
          <pc:sldMk cId="3074373291" sldId="141169463"/>
        </pc:sldMkLst>
      </pc:sldChg>
    </pc:docChg>
  </pc:docChgLst>
  <pc:docChgLst>
    <pc:chgData name="Lassen, Niels" userId="S::niels.lassen@skanska.no::95a7555d-0308-48a8-9f91-843618b09e98" providerId="AD" clId="Web-{2C0F3652-4050-402F-9F2E-D41745707349}"/>
    <pc:docChg chg="delSld modSld">
      <pc:chgData name="Lassen, Niels" userId="S::niels.lassen@skanska.no::95a7555d-0308-48a8-9f91-843618b09e98" providerId="AD" clId="Web-{2C0F3652-4050-402F-9F2E-D41745707349}" dt="2022-10-21T09:03:53.597" v="290"/>
      <pc:docMkLst>
        <pc:docMk/>
      </pc:docMkLst>
      <pc:sldChg chg="modNotes">
        <pc:chgData name="Lassen, Niels" userId="S::niels.lassen@skanska.no::95a7555d-0308-48a8-9f91-843618b09e98" providerId="AD" clId="Web-{2C0F3652-4050-402F-9F2E-D41745707349}" dt="2022-10-21T09:00:23.589" v="286"/>
        <pc:sldMkLst>
          <pc:docMk/>
          <pc:sldMk cId="3074373291" sldId="141169463"/>
        </pc:sldMkLst>
      </pc:sldChg>
      <pc:sldChg chg="modSp modNotes">
        <pc:chgData name="Lassen, Niels" userId="S::niels.lassen@skanska.no::95a7555d-0308-48a8-9f91-843618b09e98" providerId="AD" clId="Web-{2C0F3652-4050-402F-9F2E-D41745707349}" dt="2022-10-21T09:01:18.388" v="289"/>
        <pc:sldMkLst>
          <pc:docMk/>
          <pc:sldMk cId="501396284" sldId="141169464"/>
        </pc:sldMkLst>
        <pc:spChg chg="mod">
          <ac:chgData name="Lassen, Niels" userId="S::niels.lassen@skanska.no::95a7555d-0308-48a8-9f91-843618b09e98" providerId="AD" clId="Web-{2C0F3652-4050-402F-9F2E-D41745707349}" dt="2022-10-21T08:53:51.045" v="160" actId="20577"/>
          <ac:spMkLst>
            <pc:docMk/>
            <pc:sldMk cId="501396284" sldId="141169464"/>
            <ac:spMk id="4" creationId="{F326EB89-DF28-F743-5EAA-E1F3D1765953}"/>
          </ac:spMkLst>
        </pc:spChg>
      </pc:sldChg>
      <pc:sldChg chg="modSp del modNotes">
        <pc:chgData name="Lassen, Niels" userId="S::niels.lassen@skanska.no::95a7555d-0308-48a8-9f91-843618b09e98" providerId="AD" clId="Web-{2C0F3652-4050-402F-9F2E-D41745707349}" dt="2022-10-21T09:03:53.597" v="290"/>
        <pc:sldMkLst>
          <pc:docMk/>
          <pc:sldMk cId="2979697366" sldId="141169467"/>
        </pc:sldMkLst>
        <pc:spChg chg="mod">
          <ac:chgData name="Lassen, Niels" userId="S::niels.lassen@skanska.no::95a7555d-0308-48a8-9f91-843618b09e98" providerId="AD" clId="Web-{2C0F3652-4050-402F-9F2E-D41745707349}" dt="2022-10-21T08:58:06.132" v="257" actId="20577"/>
          <ac:spMkLst>
            <pc:docMk/>
            <pc:sldMk cId="2979697366" sldId="141169467"/>
            <ac:spMk id="4" creationId="{F326EB89-DF28-F743-5EAA-E1F3D1765953}"/>
          </ac:spMkLst>
        </pc:spChg>
      </pc:sldChg>
      <pc:sldChg chg="modNotes">
        <pc:chgData name="Lassen, Niels" userId="S::niels.lassen@skanska.no::95a7555d-0308-48a8-9f91-843618b09e98" providerId="AD" clId="Web-{2C0F3652-4050-402F-9F2E-D41745707349}" dt="2022-10-21T09:00:40.590" v="288"/>
        <pc:sldMkLst>
          <pc:docMk/>
          <pc:sldMk cId="4144149182" sldId="141169469"/>
        </pc:sldMkLst>
      </pc:sldChg>
    </pc:docChg>
  </pc:docChgLst>
  <pc:docChgLst>
    <pc:chgData name="Lassen, Niels" userId="S::niels.lassen@skanska.no::95a7555d-0308-48a8-9f91-843618b09e98" providerId="AD" clId="Web-{AE3E48DB-7FF9-493A-AB25-C58530E3E193}"/>
    <pc:docChg chg="modSld">
      <pc:chgData name="Lassen, Niels" userId="S::niels.lassen@skanska.no::95a7555d-0308-48a8-9f91-843618b09e98" providerId="AD" clId="Web-{AE3E48DB-7FF9-493A-AB25-C58530E3E193}" dt="2022-10-20T17:02:22.729" v="8" actId="14100"/>
      <pc:docMkLst>
        <pc:docMk/>
      </pc:docMkLst>
      <pc:sldChg chg="modSp">
        <pc:chgData name="Lassen, Niels" userId="S::niels.lassen@skanska.no::95a7555d-0308-48a8-9f91-843618b09e98" providerId="AD" clId="Web-{AE3E48DB-7FF9-493A-AB25-C58530E3E193}" dt="2022-10-20T17:02:22.729" v="8" actId="14100"/>
        <pc:sldMkLst>
          <pc:docMk/>
          <pc:sldMk cId="1746071922" sldId="141169471"/>
        </pc:sldMkLst>
        <pc:picChg chg="mod">
          <ac:chgData name="Lassen, Niels" userId="S::niels.lassen@skanska.no::95a7555d-0308-48a8-9f91-843618b09e98" providerId="AD" clId="Web-{AE3E48DB-7FF9-493A-AB25-C58530E3E193}" dt="2022-10-20T17:02:17.900" v="7" actId="14100"/>
          <ac:picMkLst>
            <pc:docMk/>
            <pc:sldMk cId="1746071922" sldId="141169471"/>
            <ac:picMk id="2" creationId="{CFACCE79-349E-0FC4-EFCA-1828FC08C0EC}"/>
          </ac:picMkLst>
        </pc:picChg>
        <pc:picChg chg="mod">
          <ac:chgData name="Lassen, Niels" userId="S::niels.lassen@skanska.no::95a7555d-0308-48a8-9f91-843618b09e98" providerId="AD" clId="Web-{AE3E48DB-7FF9-493A-AB25-C58530E3E193}" dt="2022-10-20T17:02:22.729" v="8" actId="14100"/>
          <ac:picMkLst>
            <pc:docMk/>
            <pc:sldMk cId="1746071922" sldId="141169471"/>
            <ac:picMk id="10" creationId="{4D9A8097-A6BA-C92C-91CE-0002A69A5617}"/>
          </ac:picMkLst>
        </pc:picChg>
      </pc:sldChg>
    </pc:docChg>
  </pc:docChgLst>
  <pc:docChgLst>
    <pc:chgData name="Lassen, Niels" userId="S::niels.lassen@skanska.no::95a7555d-0308-48a8-9f91-843618b09e98" providerId="AD" clId="Web-{BDAD7028-1260-4CF2-95DC-BAF162BFA315}"/>
    <pc:docChg chg="delSld modSld">
      <pc:chgData name="Lassen, Niels" userId="S::niels.lassen@skanska.no::95a7555d-0308-48a8-9f91-843618b09e98" providerId="AD" clId="Web-{BDAD7028-1260-4CF2-95DC-BAF162BFA315}" dt="2022-10-20T13:35:07.308" v="45" actId="1076"/>
      <pc:docMkLst>
        <pc:docMk/>
      </pc:docMkLst>
      <pc:sldChg chg="del">
        <pc:chgData name="Lassen, Niels" userId="S::niels.lassen@skanska.no::95a7555d-0308-48a8-9f91-843618b09e98" providerId="AD" clId="Web-{BDAD7028-1260-4CF2-95DC-BAF162BFA315}" dt="2022-10-20T13:30:12.076" v="5"/>
        <pc:sldMkLst>
          <pc:docMk/>
          <pc:sldMk cId="0" sldId="268"/>
        </pc:sldMkLst>
      </pc:sldChg>
      <pc:sldChg chg="del">
        <pc:chgData name="Lassen, Niels" userId="S::niels.lassen@skanska.no::95a7555d-0308-48a8-9f91-843618b09e98" providerId="AD" clId="Web-{BDAD7028-1260-4CF2-95DC-BAF162BFA315}" dt="2022-10-20T13:31:38.388" v="26"/>
        <pc:sldMkLst>
          <pc:docMk/>
          <pc:sldMk cId="3326965097" sldId="402"/>
        </pc:sldMkLst>
      </pc:sldChg>
      <pc:sldChg chg="del">
        <pc:chgData name="Lassen, Niels" userId="S::niels.lassen@skanska.no::95a7555d-0308-48a8-9f91-843618b09e98" providerId="AD" clId="Web-{BDAD7028-1260-4CF2-95DC-BAF162BFA315}" dt="2022-10-20T13:29:27.451" v="0"/>
        <pc:sldMkLst>
          <pc:docMk/>
          <pc:sldMk cId="3382475090" sldId="403"/>
        </pc:sldMkLst>
      </pc:sldChg>
      <pc:sldChg chg="del">
        <pc:chgData name="Lassen, Niels" userId="S::niels.lassen@skanska.no::95a7555d-0308-48a8-9f91-843618b09e98" providerId="AD" clId="Web-{BDAD7028-1260-4CF2-95DC-BAF162BFA315}" dt="2022-10-20T13:29:53.451" v="3"/>
        <pc:sldMkLst>
          <pc:docMk/>
          <pc:sldMk cId="1350075723" sldId="106861"/>
        </pc:sldMkLst>
      </pc:sldChg>
      <pc:sldChg chg="del">
        <pc:chgData name="Lassen, Niels" userId="S::niels.lassen@skanska.no::95a7555d-0308-48a8-9f91-843618b09e98" providerId="AD" clId="Web-{BDAD7028-1260-4CF2-95DC-BAF162BFA315}" dt="2022-10-20T13:29:59.279" v="4"/>
        <pc:sldMkLst>
          <pc:docMk/>
          <pc:sldMk cId="3802711338" sldId="106873"/>
        </pc:sldMkLst>
      </pc:sldChg>
      <pc:sldChg chg="del">
        <pc:chgData name="Lassen, Niels" userId="S::niels.lassen@skanska.no::95a7555d-0308-48a8-9f91-843618b09e98" providerId="AD" clId="Web-{BDAD7028-1260-4CF2-95DC-BAF162BFA315}" dt="2022-10-20T13:29:31.279" v="1"/>
        <pc:sldMkLst>
          <pc:docMk/>
          <pc:sldMk cId="3348695631" sldId="141169465"/>
        </pc:sldMkLst>
      </pc:sldChg>
      <pc:sldChg chg="del">
        <pc:chgData name="Lassen, Niels" userId="S::niels.lassen@skanska.no::95a7555d-0308-48a8-9f91-843618b09e98" providerId="AD" clId="Web-{BDAD7028-1260-4CF2-95DC-BAF162BFA315}" dt="2022-10-20T13:29:48.357" v="2"/>
        <pc:sldMkLst>
          <pc:docMk/>
          <pc:sldMk cId="3212977300" sldId="141169468"/>
        </pc:sldMkLst>
      </pc:sldChg>
      <pc:sldChg chg="addSp modSp">
        <pc:chgData name="Lassen, Niels" userId="S::niels.lassen@skanska.no::95a7555d-0308-48a8-9f91-843618b09e98" providerId="AD" clId="Web-{BDAD7028-1260-4CF2-95DC-BAF162BFA315}" dt="2022-10-20T13:35:07.308" v="45" actId="1076"/>
        <pc:sldMkLst>
          <pc:docMk/>
          <pc:sldMk cId="1746071922" sldId="141169471"/>
        </pc:sldMkLst>
        <pc:spChg chg="mod">
          <ac:chgData name="Lassen, Niels" userId="S::niels.lassen@skanska.no::95a7555d-0308-48a8-9f91-843618b09e98" providerId="AD" clId="Web-{BDAD7028-1260-4CF2-95DC-BAF162BFA315}" dt="2022-10-20T13:33:05.028" v="33" actId="1076"/>
          <ac:spMkLst>
            <pc:docMk/>
            <pc:sldMk cId="1746071922" sldId="141169471"/>
            <ac:spMk id="4" creationId="{B9AA8CBD-6E76-9CFF-A15B-65C7E387CC07}"/>
          </ac:spMkLst>
        </pc:spChg>
        <pc:spChg chg="add mod">
          <ac:chgData name="Lassen, Niels" userId="S::niels.lassen@skanska.no::95a7555d-0308-48a8-9f91-843618b09e98" providerId="AD" clId="Web-{BDAD7028-1260-4CF2-95DC-BAF162BFA315}" dt="2022-10-20T13:35:07.308" v="45" actId="1076"/>
          <ac:spMkLst>
            <pc:docMk/>
            <pc:sldMk cId="1746071922" sldId="141169471"/>
            <ac:spMk id="5" creationId="{3FA0489E-664A-ADAA-54A8-AF2D2CF1DE44}"/>
          </ac:spMkLst>
        </pc:spChg>
        <pc:spChg chg="add mod">
          <ac:chgData name="Lassen, Niels" userId="S::niels.lassen@skanska.no::95a7555d-0308-48a8-9f91-843618b09e98" providerId="AD" clId="Web-{BDAD7028-1260-4CF2-95DC-BAF162BFA315}" dt="2022-10-20T13:35:07.308" v="44" actId="1076"/>
          <ac:spMkLst>
            <pc:docMk/>
            <pc:sldMk cId="1746071922" sldId="141169471"/>
            <ac:spMk id="9" creationId="{5C64F0D3-270B-E05E-1010-0EBFE6EF7668}"/>
          </ac:spMkLst>
        </pc:spChg>
      </pc:sldChg>
    </pc:docChg>
  </pc:docChgLst>
  <pc:docChgLst>
    <pc:chgData name="Lassen, Niels" userId="S::niels.lassen@skanska.no::95a7555d-0308-48a8-9f91-843618b09e98" providerId="AD" clId="Web-{2777FC82-908E-40AB-B59F-77F628CDEE5A}"/>
    <pc:docChg chg="delSld modSld">
      <pc:chgData name="Lassen, Niels" userId="S::niels.lassen@skanska.no::95a7555d-0308-48a8-9f91-843618b09e98" providerId="AD" clId="Web-{2777FC82-908E-40AB-B59F-77F628CDEE5A}" dt="2022-10-20T17:00:45.877" v="55" actId="1076"/>
      <pc:docMkLst>
        <pc:docMk/>
      </pc:docMkLst>
      <pc:sldChg chg="modSp">
        <pc:chgData name="Lassen, Niels" userId="S::niels.lassen@skanska.no::95a7555d-0308-48a8-9f91-843618b09e98" providerId="AD" clId="Web-{2777FC82-908E-40AB-B59F-77F628CDEE5A}" dt="2022-10-20T17:00:45.877" v="55" actId="1076"/>
        <pc:sldMkLst>
          <pc:docMk/>
          <pc:sldMk cId="1746071922" sldId="141169471"/>
        </pc:sldMkLst>
        <pc:spChg chg="mod">
          <ac:chgData name="Lassen, Niels" userId="S::niels.lassen@skanska.no::95a7555d-0308-48a8-9f91-843618b09e98" providerId="AD" clId="Web-{2777FC82-908E-40AB-B59F-77F628CDEE5A}" dt="2022-10-20T16:56:20.487" v="10" actId="20577"/>
          <ac:spMkLst>
            <pc:docMk/>
            <pc:sldMk cId="1746071922" sldId="141169471"/>
            <ac:spMk id="9" creationId="{5C64F0D3-270B-E05E-1010-0EBFE6EF7668}"/>
          </ac:spMkLst>
        </pc:spChg>
        <pc:picChg chg="mod">
          <ac:chgData name="Lassen, Niels" userId="S::niels.lassen@skanska.no::95a7555d-0308-48a8-9f91-843618b09e98" providerId="AD" clId="Web-{2777FC82-908E-40AB-B59F-77F628CDEE5A}" dt="2022-10-20T17:00:45.877" v="55" actId="1076"/>
          <ac:picMkLst>
            <pc:docMk/>
            <pc:sldMk cId="1746071922" sldId="141169471"/>
            <ac:picMk id="2" creationId="{CFACCE79-349E-0FC4-EFCA-1828FC08C0EC}"/>
          </ac:picMkLst>
        </pc:picChg>
      </pc:sldChg>
      <pc:sldChg chg="addSp delSp modSp">
        <pc:chgData name="Lassen, Niels" userId="S::niels.lassen@skanska.no::95a7555d-0308-48a8-9f91-843618b09e98" providerId="AD" clId="Web-{2777FC82-908E-40AB-B59F-77F628CDEE5A}" dt="2022-10-20T16:59:58.783" v="53" actId="20577"/>
        <pc:sldMkLst>
          <pc:docMk/>
          <pc:sldMk cId="490323899" sldId="141169475"/>
        </pc:sldMkLst>
        <pc:spChg chg="mod">
          <ac:chgData name="Lassen, Niels" userId="S::niels.lassen@skanska.no::95a7555d-0308-48a8-9f91-843618b09e98" providerId="AD" clId="Web-{2777FC82-908E-40AB-B59F-77F628CDEE5A}" dt="2022-10-20T16:59:15.580" v="34" actId="20577"/>
          <ac:spMkLst>
            <pc:docMk/>
            <pc:sldMk cId="490323899" sldId="141169475"/>
            <ac:spMk id="3" creationId="{026DE04A-DDC3-8AA7-1A01-A0CCC089C406}"/>
          </ac:spMkLst>
        </pc:spChg>
        <pc:spChg chg="mod">
          <ac:chgData name="Lassen, Niels" userId="S::niels.lassen@skanska.no::95a7555d-0308-48a8-9f91-843618b09e98" providerId="AD" clId="Web-{2777FC82-908E-40AB-B59F-77F628CDEE5A}" dt="2022-10-20T16:59:58.783" v="53" actId="20577"/>
          <ac:spMkLst>
            <pc:docMk/>
            <pc:sldMk cId="490323899" sldId="141169475"/>
            <ac:spMk id="4" creationId="{83F40298-605F-ADB9-835C-1EED139578A8}"/>
          </ac:spMkLst>
        </pc:spChg>
        <pc:spChg chg="add mod">
          <ac:chgData name="Lassen, Niels" userId="S::niels.lassen@skanska.no::95a7555d-0308-48a8-9f91-843618b09e98" providerId="AD" clId="Web-{2777FC82-908E-40AB-B59F-77F628CDEE5A}" dt="2022-10-20T16:58:28.909" v="27"/>
          <ac:spMkLst>
            <pc:docMk/>
            <pc:sldMk cId="490323899" sldId="141169475"/>
            <ac:spMk id="5" creationId="{B019BB8F-5FED-4D89-2690-F330E26C30ED}"/>
          </ac:spMkLst>
        </pc:spChg>
        <pc:picChg chg="add mod">
          <ac:chgData name="Lassen, Niels" userId="S::niels.lassen@skanska.no::95a7555d-0308-48a8-9f91-843618b09e98" providerId="AD" clId="Web-{2777FC82-908E-40AB-B59F-77F628CDEE5A}" dt="2022-10-20T16:58:45.159" v="30" actId="14100"/>
          <ac:picMkLst>
            <pc:docMk/>
            <pc:sldMk cId="490323899" sldId="141169475"/>
            <ac:picMk id="9" creationId="{785B835E-FFFA-1DA0-0366-42C3152E528A}"/>
          </ac:picMkLst>
        </pc:picChg>
        <pc:picChg chg="del">
          <ac:chgData name="Lassen, Niels" userId="S::niels.lassen@skanska.no::95a7555d-0308-48a8-9f91-843618b09e98" providerId="AD" clId="Web-{2777FC82-908E-40AB-B59F-77F628CDEE5A}" dt="2022-10-20T16:58:28.909" v="27"/>
          <ac:picMkLst>
            <pc:docMk/>
            <pc:sldMk cId="490323899" sldId="141169475"/>
            <ac:picMk id="10" creationId="{9E841A3C-96CC-D8B1-FA87-BC29AF34724D}"/>
          </ac:picMkLst>
        </pc:picChg>
        <pc:picChg chg="del">
          <ac:chgData name="Lassen, Niels" userId="S::niels.lassen@skanska.no::95a7555d-0308-48a8-9f91-843618b09e98" providerId="AD" clId="Web-{2777FC82-908E-40AB-B59F-77F628CDEE5A}" dt="2022-10-20T16:58:27.580" v="26"/>
          <ac:picMkLst>
            <pc:docMk/>
            <pc:sldMk cId="490323899" sldId="141169475"/>
            <ac:picMk id="12" creationId="{4499A068-765F-0F07-F25E-700450781FD9}"/>
          </ac:picMkLst>
        </pc:picChg>
      </pc:sldChg>
      <pc:sldChg chg="delSp modSp del">
        <pc:chgData name="Lassen, Niels" userId="S::niels.lassen@skanska.no::95a7555d-0308-48a8-9f91-843618b09e98" providerId="AD" clId="Web-{2777FC82-908E-40AB-B59F-77F628CDEE5A}" dt="2022-10-20T17:00:02.471" v="54"/>
        <pc:sldMkLst>
          <pc:docMk/>
          <pc:sldMk cId="1390985826" sldId="141169476"/>
        </pc:sldMkLst>
        <pc:spChg chg="mod">
          <ac:chgData name="Lassen, Niels" userId="S::niels.lassen@skanska.no::95a7555d-0308-48a8-9f91-843618b09e98" providerId="AD" clId="Web-{2777FC82-908E-40AB-B59F-77F628CDEE5A}" dt="2022-10-20T16:57:32.284" v="23"/>
          <ac:spMkLst>
            <pc:docMk/>
            <pc:sldMk cId="1390985826" sldId="141169476"/>
            <ac:spMk id="139" creationId="{00000000-0000-0000-0000-000000000000}"/>
          </ac:spMkLst>
        </pc:spChg>
        <pc:spChg chg="mod">
          <ac:chgData name="Lassen, Niels" userId="S::niels.lassen@skanska.no::95a7555d-0308-48a8-9f91-843618b09e98" providerId="AD" clId="Web-{2777FC82-908E-40AB-B59F-77F628CDEE5A}" dt="2022-10-20T16:57:13.534" v="22" actId="1076"/>
          <ac:spMkLst>
            <pc:docMk/>
            <pc:sldMk cId="1390985826" sldId="141169476"/>
            <ac:spMk id="140" creationId="{00000000-0000-0000-0000-000000000000}"/>
          </ac:spMkLst>
        </pc:spChg>
        <pc:picChg chg="del">
          <ac:chgData name="Lassen, Niels" userId="S::niels.lassen@skanska.no::95a7555d-0308-48a8-9f91-843618b09e98" providerId="AD" clId="Web-{2777FC82-908E-40AB-B59F-77F628CDEE5A}" dt="2022-10-20T16:56:25.081" v="11"/>
          <ac:picMkLst>
            <pc:docMk/>
            <pc:sldMk cId="1390985826" sldId="141169476"/>
            <ac:picMk id="136" creationId="{00000000-0000-0000-0000-000000000000}"/>
          </ac:picMkLst>
        </pc:picChg>
        <pc:picChg chg="del">
          <ac:chgData name="Lassen, Niels" userId="S::niels.lassen@skanska.no::95a7555d-0308-48a8-9f91-843618b09e98" providerId="AD" clId="Web-{2777FC82-908E-40AB-B59F-77F628CDEE5A}" dt="2022-10-20T16:56:27.456" v="12"/>
          <ac:picMkLst>
            <pc:docMk/>
            <pc:sldMk cId="1390985826" sldId="141169476"/>
            <ac:picMk id="137" creationId="{00000000-0000-0000-0000-000000000000}"/>
          </ac:picMkLst>
        </pc:picChg>
      </pc:sldChg>
    </pc:docChg>
  </pc:docChgLst>
  <pc:docChgLst>
    <pc:chgData name="Griffiths, Christopher Philip" userId="bc7606ee-3bfa-478f-8fb1-5eaf56546c9f" providerId="ADAL" clId="{F6279B27-63DA-49DF-A138-ED6CC06D6CB8}"/>
    <pc:docChg chg="delSld">
      <pc:chgData name="Griffiths, Christopher Philip" userId="bc7606ee-3bfa-478f-8fb1-5eaf56546c9f" providerId="ADAL" clId="{F6279B27-63DA-49DF-A138-ED6CC06D6CB8}" dt="2023-11-01T14:37:12.408" v="0" actId="47"/>
      <pc:docMkLst>
        <pc:docMk/>
      </pc:docMkLst>
      <pc:sldChg chg="del">
        <pc:chgData name="Griffiths, Christopher Philip" userId="bc7606ee-3bfa-478f-8fb1-5eaf56546c9f" providerId="ADAL" clId="{F6279B27-63DA-49DF-A138-ED6CC06D6CB8}" dt="2023-11-01T14:37:12.408" v="0" actId="47"/>
        <pc:sldMkLst>
          <pc:docMk/>
          <pc:sldMk cId="4202715901" sldId="141169472"/>
        </pc:sldMkLst>
      </pc:sldChg>
      <pc:sldMasterChg chg="delSldLayout">
        <pc:chgData name="Griffiths, Christopher Philip" userId="bc7606ee-3bfa-478f-8fb1-5eaf56546c9f" providerId="ADAL" clId="{F6279B27-63DA-49DF-A138-ED6CC06D6CB8}" dt="2023-11-01T14:37:12.408" v="0" actId="47"/>
        <pc:sldMasterMkLst>
          <pc:docMk/>
          <pc:sldMasterMk cId="2733114217" sldId="2147483737"/>
        </pc:sldMasterMkLst>
        <pc:sldLayoutChg chg="del">
          <pc:chgData name="Griffiths, Christopher Philip" userId="bc7606ee-3bfa-478f-8fb1-5eaf56546c9f" providerId="ADAL" clId="{F6279B27-63DA-49DF-A138-ED6CC06D6CB8}" dt="2023-11-01T14:37:12.408" v="0" actId="47"/>
          <pc:sldLayoutMkLst>
            <pc:docMk/>
            <pc:sldMasterMk cId="2733114217" sldId="2147483737"/>
            <pc:sldLayoutMk cId="2018292371" sldId="2147483748"/>
          </pc:sldLayoutMkLst>
        </pc:sldLayoutChg>
      </pc:sldMasterChg>
    </pc:docChg>
  </pc:docChgLst>
  <pc:docChgLst>
    <pc:chgData name="Griffiths, Christopher Philip" userId="bc7606ee-3bfa-478f-8fb1-5eaf56546c9f" providerId="ADAL" clId="{81903930-B589-46DB-95A4-DBE5BDD87759}"/>
    <pc:docChg chg="undo custSel addSld delSld modSld">
      <pc:chgData name="Griffiths, Christopher Philip" userId="bc7606ee-3bfa-478f-8fb1-5eaf56546c9f" providerId="ADAL" clId="{81903930-B589-46DB-95A4-DBE5BDD87759}" dt="2022-10-20T12:19:23.501" v="595" actId="729"/>
      <pc:docMkLst>
        <pc:docMk/>
      </pc:docMkLst>
      <pc:sldChg chg="mod modShow">
        <pc:chgData name="Griffiths, Christopher Philip" userId="bc7606ee-3bfa-478f-8fb1-5eaf56546c9f" providerId="ADAL" clId="{81903930-B589-46DB-95A4-DBE5BDD87759}" dt="2022-10-20T11:59:46.827" v="109" actId="729"/>
        <pc:sldMkLst>
          <pc:docMk/>
          <pc:sldMk cId="0" sldId="268"/>
        </pc:sldMkLst>
      </pc:sldChg>
      <pc:sldChg chg="modSp mod modShow">
        <pc:chgData name="Griffiths, Christopher Philip" userId="bc7606ee-3bfa-478f-8fb1-5eaf56546c9f" providerId="ADAL" clId="{81903930-B589-46DB-95A4-DBE5BDD87759}" dt="2022-10-20T12:09:02.131" v="305" actId="729"/>
        <pc:sldMkLst>
          <pc:docMk/>
          <pc:sldMk cId="3326965097" sldId="402"/>
        </pc:sldMkLst>
        <pc:picChg chg="mod">
          <ac:chgData name="Griffiths, Christopher Philip" userId="bc7606ee-3bfa-478f-8fb1-5eaf56546c9f" providerId="ADAL" clId="{81903930-B589-46DB-95A4-DBE5BDD87759}" dt="2022-10-20T11:57:47.363" v="83" actId="14100"/>
          <ac:picMkLst>
            <pc:docMk/>
            <pc:sldMk cId="3326965097" sldId="402"/>
            <ac:picMk id="4" creationId="{E31800B3-AA44-A629-B68F-34EB0BF0F41A}"/>
          </ac:picMkLst>
        </pc:picChg>
      </pc:sldChg>
      <pc:sldChg chg="mod modShow">
        <pc:chgData name="Griffiths, Christopher Philip" userId="bc7606ee-3bfa-478f-8fb1-5eaf56546c9f" providerId="ADAL" clId="{81903930-B589-46DB-95A4-DBE5BDD87759}" dt="2022-10-20T12:19:23.501" v="595" actId="729"/>
        <pc:sldMkLst>
          <pc:docMk/>
          <pc:sldMk cId="3382475090" sldId="403"/>
        </pc:sldMkLst>
      </pc:sldChg>
      <pc:sldChg chg="mod modShow">
        <pc:chgData name="Griffiths, Christopher Philip" userId="bc7606ee-3bfa-478f-8fb1-5eaf56546c9f" providerId="ADAL" clId="{81903930-B589-46DB-95A4-DBE5BDD87759}" dt="2022-10-20T12:16:45.425" v="566" actId="729"/>
        <pc:sldMkLst>
          <pc:docMk/>
          <pc:sldMk cId="3802711338" sldId="106873"/>
        </pc:sldMkLst>
      </pc:sldChg>
      <pc:sldChg chg="setBg">
        <pc:chgData name="Griffiths, Christopher Philip" userId="bc7606ee-3bfa-478f-8fb1-5eaf56546c9f" providerId="ADAL" clId="{81903930-B589-46DB-95A4-DBE5BDD87759}" dt="2022-10-20T12:04:23.484" v="129"/>
        <pc:sldMkLst>
          <pc:docMk/>
          <pc:sldMk cId="3074373291" sldId="141169463"/>
        </pc:sldMkLst>
      </pc:sldChg>
      <pc:sldChg chg="setBg">
        <pc:chgData name="Griffiths, Christopher Philip" userId="bc7606ee-3bfa-478f-8fb1-5eaf56546c9f" providerId="ADAL" clId="{81903930-B589-46DB-95A4-DBE5BDD87759}" dt="2022-10-20T12:00:25.052" v="112"/>
        <pc:sldMkLst>
          <pc:docMk/>
          <pc:sldMk cId="501396284" sldId="141169464"/>
        </pc:sldMkLst>
      </pc:sldChg>
      <pc:sldChg chg="mod modShow">
        <pc:chgData name="Griffiths, Christopher Philip" userId="bc7606ee-3bfa-478f-8fb1-5eaf56546c9f" providerId="ADAL" clId="{81903930-B589-46DB-95A4-DBE5BDD87759}" dt="2022-10-20T11:48:36.458" v="38" actId="729"/>
        <pc:sldMkLst>
          <pc:docMk/>
          <pc:sldMk cId="3348695631" sldId="141169465"/>
        </pc:sldMkLst>
      </pc:sldChg>
      <pc:sldChg chg="addSp delSp modSp add mod setBg">
        <pc:chgData name="Griffiths, Christopher Philip" userId="bc7606ee-3bfa-478f-8fb1-5eaf56546c9f" providerId="ADAL" clId="{81903930-B589-46DB-95A4-DBE5BDD87759}" dt="2022-10-20T12:19:15.114" v="594" actId="931"/>
        <pc:sldMkLst>
          <pc:docMk/>
          <pc:sldMk cId="1241150030" sldId="141169466"/>
        </pc:sldMkLst>
        <pc:spChg chg="mod">
          <ac:chgData name="Griffiths, Christopher Philip" userId="bc7606ee-3bfa-478f-8fb1-5eaf56546c9f" providerId="ADAL" clId="{81903930-B589-46DB-95A4-DBE5BDD87759}" dt="2022-10-20T12:18:30.492" v="590" actId="1076"/>
          <ac:spMkLst>
            <pc:docMk/>
            <pc:sldMk cId="1241150030" sldId="141169466"/>
            <ac:spMk id="3" creationId="{63A49122-214B-1EE1-B903-58AEDC67E8FC}"/>
          </ac:spMkLst>
        </pc:spChg>
        <pc:spChg chg="add del mod">
          <ac:chgData name="Griffiths, Christopher Philip" userId="bc7606ee-3bfa-478f-8fb1-5eaf56546c9f" providerId="ADAL" clId="{81903930-B589-46DB-95A4-DBE5BDD87759}" dt="2022-10-20T12:18:44.976" v="592" actId="931"/>
          <ac:spMkLst>
            <pc:docMk/>
            <pc:sldMk cId="1241150030" sldId="141169466"/>
            <ac:spMk id="5" creationId="{86AEA76F-8268-87F0-2C48-C4B2C7668489}"/>
          </ac:spMkLst>
        </pc:spChg>
        <pc:spChg chg="add del mod">
          <ac:chgData name="Griffiths, Christopher Philip" userId="bc7606ee-3bfa-478f-8fb1-5eaf56546c9f" providerId="ADAL" clId="{81903930-B589-46DB-95A4-DBE5BDD87759}" dt="2022-10-20T12:19:15.114" v="594" actId="931"/>
          <ac:spMkLst>
            <pc:docMk/>
            <pc:sldMk cId="1241150030" sldId="141169466"/>
            <ac:spMk id="13" creationId="{D4428E44-801A-5984-C0FF-FB1FB97EA3CF}"/>
          </ac:spMkLst>
        </pc:spChg>
        <pc:picChg chg="add mod">
          <ac:chgData name="Griffiths, Christopher Philip" userId="bc7606ee-3bfa-478f-8fb1-5eaf56546c9f" providerId="ADAL" clId="{81903930-B589-46DB-95A4-DBE5BDD87759}" dt="2022-10-20T12:18:27.470" v="589" actId="1076"/>
          <ac:picMkLst>
            <pc:docMk/>
            <pc:sldMk cId="1241150030" sldId="141169466"/>
            <ac:picMk id="2" creationId="{9817B80A-A9A4-5B62-DA29-67D70A75BE7B}"/>
          </ac:picMkLst>
        </pc:picChg>
        <pc:picChg chg="del">
          <ac:chgData name="Griffiths, Christopher Philip" userId="bc7606ee-3bfa-478f-8fb1-5eaf56546c9f" providerId="ADAL" clId="{81903930-B589-46DB-95A4-DBE5BDD87759}" dt="2022-10-20T12:18:17.332" v="587" actId="478"/>
          <ac:picMkLst>
            <pc:docMk/>
            <pc:sldMk cId="1241150030" sldId="141169466"/>
            <ac:picMk id="9" creationId="{D35BEC4F-6FBA-68EE-3498-8D77F2B8E257}"/>
          </ac:picMkLst>
        </pc:picChg>
        <pc:picChg chg="add del mod">
          <ac:chgData name="Griffiths, Christopher Philip" userId="bc7606ee-3bfa-478f-8fb1-5eaf56546c9f" providerId="ADAL" clId="{81903930-B589-46DB-95A4-DBE5BDD87759}" dt="2022-10-20T12:18:48.635" v="593" actId="478"/>
          <ac:picMkLst>
            <pc:docMk/>
            <pc:sldMk cId="1241150030" sldId="141169466"/>
            <ac:picMk id="10" creationId="{58C957FD-193B-C96D-281E-53F27EA42815}"/>
          </ac:picMkLst>
        </pc:picChg>
        <pc:picChg chg="del">
          <ac:chgData name="Griffiths, Christopher Philip" userId="bc7606ee-3bfa-478f-8fb1-5eaf56546c9f" providerId="ADAL" clId="{81903930-B589-46DB-95A4-DBE5BDD87759}" dt="2022-10-20T12:18:39.382" v="591" actId="478"/>
          <ac:picMkLst>
            <pc:docMk/>
            <pc:sldMk cId="1241150030" sldId="141169466"/>
            <ac:picMk id="14" creationId="{952FBFFA-A8DB-6DFE-3FFB-BC27022045C9}"/>
          </ac:picMkLst>
        </pc:picChg>
        <pc:picChg chg="add mod">
          <ac:chgData name="Griffiths, Christopher Philip" userId="bc7606ee-3bfa-478f-8fb1-5eaf56546c9f" providerId="ADAL" clId="{81903930-B589-46DB-95A4-DBE5BDD87759}" dt="2022-10-20T12:19:15.114" v="594" actId="931"/>
          <ac:picMkLst>
            <pc:docMk/>
            <pc:sldMk cId="1241150030" sldId="141169466"/>
            <ac:picMk id="16" creationId="{2747762C-952C-A15E-217F-DFBE8A485AAC}"/>
          </ac:picMkLst>
        </pc:picChg>
      </pc:sldChg>
      <pc:sldChg chg="modSp mod setBg">
        <pc:chgData name="Griffiths, Christopher Philip" userId="bc7606ee-3bfa-478f-8fb1-5eaf56546c9f" providerId="ADAL" clId="{81903930-B589-46DB-95A4-DBE5BDD87759}" dt="2022-10-20T12:00:18.728" v="111"/>
        <pc:sldMkLst>
          <pc:docMk/>
          <pc:sldMk cId="2979697366" sldId="141169467"/>
        </pc:sldMkLst>
        <pc:spChg chg="mod">
          <ac:chgData name="Griffiths, Christopher Philip" userId="bc7606ee-3bfa-478f-8fb1-5eaf56546c9f" providerId="ADAL" clId="{81903930-B589-46DB-95A4-DBE5BDD87759}" dt="2022-10-20T11:49:24.209" v="44" actId="403"/>
          <ac:spMkLst>
            <pc:docMk/>
            <pc:sldMk cId="2979697366" sldId="141169467"/>
            <ac:spMk id="4" creationId="{F326EB89-DF28-F743-5EAA-E1F3D1765953}"/>
          </ac:spMkLst>
        </pc:spChg>
      </pc:sldChg>
      <pc:sldChg chg="mod modShow">
        <pc:chgData name="Griffiths, Christopher Philip" userId="bc7606ee-3bfa-478f-8fb1-5eaf56546c9f" providerId="ADAL" clId="{81903930-B589-46DB-95A4-DBE5BDD87759}" dt="2022-10-20T11:51:05.038" v="52" actId="729"/>
        <pc:sldMkLst>
          <pc:docMk/>
          <pc:sldMk cId="3212977300" sldId="141169468"/>
        </pc:sldMkLst>
      </pc:sldChg>
      <pc:sldChg chg="addSp delSp modSp add del mod">
        <pc:chgData name="Griffiths, Christopher Philip" userId="bc7606ee-3bfa-478f-8fb1-5eaf56546c9f" providerId="ADAL" clId="{81903930-B589-46DB-95A4-DBE5BDD87759}" dt="2022-10-20T11:23:08.613" v="10" actId="2890"/>
        <pc:sldMkLst>
          <pc:docMk/>
          <pc:sldMk cId="296405080" sldId="141169469"/>
        </pc:sldMkLst>
        <pc:graphicFrameChg chg="add del mod">
          <ac:chgData name="Griffiths, Christopher Philip" userId="bc7606ee-3bfa-478f-8fb1-5eaf56546c9f" providerId="ADAL" clId="{81903930-B589-46DB-95A4-DBE5BDD87759}" dt="2022-10-20T11:23:07.229" v="8" actId="1957"/>
          <ac:graphicFrameMkLst>
            <pc:docMk/>
            <pc:sldMk cId="296405080" sldId="141169469"/>
            <ac:graphicFrameMk id="7" creationId="{6B518C70-74A9-8EEA-414E-A99659D9C182}"/>
          </ac:graphicFrameMkLst>
        </pc:graphicFrameChg>
        <pc:picChg chg="add del">
          <ac:chgData name="Griffiths, Christopher Philip" userId="bc7606ee-3bfa-478f-8fb1-5eaf56546c9f" providerId="ADAL" clId="{81903930-B589-46DB-95A4-DBE5BDD87759}" dt="2022-10-20T11:23:07.646" v="9" actId="478"/>
          <ac:picMkLst>
            <pc:docMk/>
            <pc:sldMk cId="296405080" sldId="141169469"/>
            <ac:picMk id="2" creationId="{0A9F9463-48FF-5863-7535-5A76EB2CA60D}"/>
          </ac:picMkLst>
        </pc:picChg>
      </pc:sldChg>
      <pc:sldChg chg="addSp delSp modSp new mod setBg modNotesTx">
        <pc:chgData name="Griffiths, Christopher Philip" userId="bc7606ee-3bfa-478f-8fb1-5eaf56546c9f" providerId="ADAL" clId="{81903930-B589-46DB-95A4-DBE5BDD87759}" dt="2022-10-20T12:04:01.579" v="128" actId="692"/>
        <pc:sldMkLst>
          <pc:docMk/>
          <pc:sldMk cId="4144149182" sldId="141169469"/>
        </pc:sldMkLst>
        <pc:spChg chg="add del mod">
          <ac:chgData name="Griffiths, Christopher Philip" userId="bc7606ee-3bfa-478f-8fb1-5eaf56546c9f" providerId="ADAL" clId="{81903930-B589-46DB-95A4-DBE5BDD87759}" dt="2022-10-20T11:24:51.891" v="25" actId="931"/>
          <ac:spMkLst>
            <pc:docMk/>
            <pc:sldMk cId="4144149182" sldId="141169469"/>
            <ac:spMk id="2" creationId="{F04E19FF-A7D6-6818-57DC-FD4A03E18CD4}"/>
          </ac:spMkLst>
        </pc:spChg>
        <pc:spChg chg="add del">
          <ac:chgData name="Griffiths, Christopher Philip" userId="bc7606ee-3bfa-478f-8fb1-5eaf56546c9f" providerId="ADAL" clId="{81903930-B589-46DB-95A4-DBE5BDD87759}" dt="2022-10-20T11:25:05.471" v="29" actId="478"/>
          <ac:spMkLst>
            <pc:docMk/>
            <pc:sldMk cId="4144149182" sldId="141169469"/>
            <ac:spMk id="3" creationId="{F7E94834-BA2F-1433-6B3E-B33AA4A6C52D}"/>
          </ac:spMkLst>
        </pc:spChg>
        <pc:spChg chg="add del">
          <ac:chgData name="Griffiths, Christopher Philip" userId="bc7606ee-3bfa-478f-8fb1-5eaf56546c9f" providerId="ADAL" clId="{81903930-B589-46DB-95A4-DBE5BDD87759}" dt="2022-10-20T11:24:55.326" v="26" actId="478"/>
          <ac:spMkLst>
            <pc:docMk/>
            <pc:sldMk cId="4144149182" sldId="141169469"/>
            <ac:spMk id="4" creationId="{CB857BDF-6B1E-9736-68C7-751D661DF54F}"/>
          </ac:spMkLst>
        </pc:spChg>
        <pc:spChg chg="add del mod">
          <ac:chgData name="Griffiths, Christopher Philip" userId="bc7606ee-3bfa-478f-8fb1-5eaf56546c9f" providerId="ADAL" clId="{81903930-B589-46DB-95A4-DBE5BDD87759}" dt="2022-10-20T11:26:57.178" v="34" actId="931"/>
          <ac:spMkLst>
            <pc:docMk/>
            <pc:sldMk cId="4144149182" sldId="141169469"/>
            <ac:spMk id="16" creationId="{25EAD7DA-F03A-A833-FA6C-14B0287A1410}"/>
          </ac:spMkLst>
        </pc:spChg>
        <pc:spChg chg="add del mod">
          <ac:chgData name="Griffiths, Christopher Philip" userId="bc7606ee-3bfa-478f-8fb1-5eaf56546c9f" providerId="ADAL" clId="{81903930-B589-46DB-95A4-DBE5BDD87759}" dt="2022-10-20T11:48:24.212" v="37" actId="931"/>
          <ac:spMkLst>
            <pc:docMk/>
            <pc:sldMk cId="4144149182" sldId="141169469"/>
            <ac:spMk id="20" creationId="{EF4915E6-F54C-CF8D-D450-A80E6D912958}"/>
          </ac:spMkLst>
        </pc:spChg>
        <pc:picChg chg="add del mod">
          <ac:chgData name="Griffiths, Christopher Philip" userId="bc7606ee-3bfa-478f-8fb1-5eaf56546c9f" providerId="ADAL" clId="{81903930-B589-46DB-95A4-DBE5BDD87759}" dt="2022-10-20T11:24:42.487" v="23" actId="931"/>
          <ac:picMkLst>
            <pc:docMk/>
            <pc:sldMk cId="4144149182" sldId="141169469"/>
            <ac:picMk id="10" creationId="{191B8F5C-41F4-E4C8-2B68-BFD027595F03}"/>
          </ac:picMkLst>
        </pc:picChg>
        <pc:picChg chg="add del mod">
          <ac:chgData name="Griffiths, Christopher Philip" userId="bc7606ee-3bfa-478f-8fb1-5eaf56546c9f" providerId="ADAL" clId="{81903930-B589-46DB-95A4-DBE5BDD87759}" dt="2022-10-20T11:24:41.469" v="20"/>
          <ac:picMkLst>
            <pc:docMk/>
            <pc:sldMk cId="4144149182" sldId="141169469"/>
            <ac:picMk id="11" creationId="{AD573AEE-7293-934D-866F-E77E09D0F93A}"/>
          </ac:picMkLst>
        </pc:picChg>
        <pc:picChg chg="add del mod">
          <ac:chgData name="Griffiths, Christopher Philip" userId="bc7606ee-3bfa-478f-8fb1-5eaf56546c9f" providerId="ADAL" clId="{81903930-B589-46DB-95A4-DBE5BDD87759}" dt="2022-10-20T11:25:27.559" v="32" actId="478"/>
          <ac:picMkLst>
            <pc:docMk/>
            <pc:sldMk cId="4144149182" sldId="141169469"/>
            <ac:picMk id="13" creationId="{5604C5CC-9E54-3491-5E65-13E9EFC7EA3F}"/>
          </ac:picMkLst>
        </pc:picChg>
        <pc:picChg chg="add mod">
          <ac:chgData name="Griffiths, Christopher Philip" userId="bc7606ee-3bfa-478f-8fb1-5eaf56546c9f" providerId="ADAL" clId="{81903930-B589-46DB-95A4-DBE5BDD87759}" dt="2022-10-20T12:04:01.579" v="128" actId="692"/>
          <ac:picMkLst>
            <pc:docMk/>
            <pc:sldMk cId="4144149182" sldId="141169469"/>
            <ac:picMk id="14" creationId="{769C39D1-6E0E-FC0A-B21C-08F7BD0EAD9C}"/>
          </ac:picMkLst>
        </pc:picChg>
        <pc:picChg chg="add del mod">
          <ac:chgData name="Griffiths, Christopher Philip" userId="bc7606ee-3bfa-478f-8fb1-5eaf56546c9f" providerId="ADAL" clId="{81903930-B589-46DB-95A4-DBE5BDD87759}" dt="2022-10-20T11:27:05.456" v="35" actId="478"/>
          <ac:picMkLst>
            <pc:docMk/>
            <pc:sldMk cId="4144149182" sldId="141169469"/>
            <ac:picMk id="18" creationId="{5277F5BA-2A19-EAE9-15FE-311CE2A2ED79}"/>
          </ac:picMkLst>
        </pc:picChg>
        <pc:picChg chg="add mod">
          <ac:chgData name="Griffiths, Christopher Philip" userId="bc7606ee-3bfa-478f-8fb1-5eaf56546c9f" providerId="ADAL" clId="{81903930-B589-46DB-95A4-DBE5BDD87759}" dt="2022-10-20T11:48:24.212" v="37" actId="931"/>
          <ac:picMkLst>
            <pc:docMk/>
            <pc:sldMk cId="4144149182" sldId="141169469"/>
            <ac:picMk id="22" creationId="{6A95AD11-D804-95F9-5986-6EF6D3D4A92E}"/>
          </ac:picMkLst>
        </pc:picChg>
      </pc:sldChg>
      <pc:sldChg chg="addSp delSp modSp new mod setBg">
        <pc:chgData name="Griffiths, Christopher Philip" userId="bc7606ee-3bfa-478f-8fb1-5eaf56546c9f" providerId="ADAL" clId="{81903930-B589-46DB-95A4-DBE5BDD87759}" dt="2022-10-20T12:00:10.939" v="110"/>
        <pc:sldMkLst>
          <pc:docMk/>
          <pc:sldMk cId="353832398" sldId="141169470"/>
        </pc:sldMkLst>
        <pc:spChg chg="del">
          <ac:chgData name="Griffiths, Christopher Philip" userId="bc7606ee-3bfa-478f-8fb1-5eaf56546c9f" providerId="ADAL" clId="{81903930-B589-46DB-95A4-DBE5BDD87759}" dt="2022-10-20T11:50:43.269" v="48" actId="931"/>
          <ac:spMkLst>
            <pc:docMk/>
            <pc:sldMk cId="353832398" sldId="141169470"/>
            <ac:spMk id="2" creationId="{05A38C32-9F78-E6A2-1055-6F716B5E1EED}"/>
          </ac:spMkLst>
        </pc:spChg>
        <pc:spChg chg="mod">
          <ac:chgData name="Griffiths, Christopher Philip" userId="bc7606ee-3bfa-478f-8fb1-5eaf56546c9f" providerId="ADAL" clId="{81903930-B589-46DB-95A4-DBE5BDD87759}" dt="2022-10-20T11:50:19.396" v="47" actId="1076"/>
          <ac:spMkLst>
            <pc:docMk/>
            <pc:sldMk cId="353832398" sldId="141169470"/>
            <ac:spMk id="3" creationId="{B1DA0261-5E04-F776-EA8F-97CEC9D776CA}"/>
          </ac:spMkLst>
        </pc:spChg>
        <pc:spChg chg="del">
          <ac:chgData name="Griffiths, Christopher Philip" userId="bc7606ee-3bfa-478f-8fb1-5eaf56546c9f" providerId="ADAL" clId="{81903930-B589-46DB-95A4-DBE5BDD87759}" dt="2022-10-20T11:50:51.069" v="49" actId="478"/>
          <ac:spMkLst>
            <pc:docMk/>
            <pc:sldMk cId="353832398" sldId="141169470"/>
            <ac:spMk id="4" creationId="{1BC99990-CFFF-67CF-DD64-DD9FFD1592DB}"/>
          </ac:spMkLst>
        </pc:spChg>
        <pc:picChg chg="add mod">
          <ac:chgData name="Griffiths, Christopher Philip" userId="bc7606ee-3bfa-478f-8fb1-5eaf56546c9f" providerId="ADAL" clId="{81903930-B589-46DB-95A4-DBE5BDD87759}" dt="2022-10-20T11:50:43.269" v="48" actId="931"/>
          <ac:picMkLst>
            <pc:docMk/>
            <pc:sldMk cId="353832398" sldId="141169470"/>
            <ac:picMk id="10" creationId="{5776DA75-AE2F-46E9-3774-1D4AE09E787C}"/>
          </ac:picMkLst>
        </pc:picChg>
        <pc:picChg chg="add mod">
          <ac:chgData name="Griffiths, Christopher Philip" userId="bc7606ee-3bfa-478f-8fb1-5eaf56546c9f" providerId="ADAL" clId="{81903930-B589-46DB-95A4-DBE5BDD87759}" dt="2022-10-20T11:51:01.588" v="51" actId="1076"/>
          <ac:picMkLst>
            <pc:docMk/>
            <pc:sldMk cId="353832398" sldId="141169470"/>
            <ac:picMk id="11" creationId="{862A536E-0464-B989-926E-7098280D59E6}"/>
          </ac:picMkLst>
        </pc:picChg>
      </pc:sldChg>
      <pc:sldChg chg="addSp delSp modSp new mod setBg">
        <pc:chgData name="Griffiths, Christopher Philip" userId="bc7606ee-3bfa-478f-8fb1-5eaf56546c9f" providerId="ADAL" clId="{81903930-B589-46DB-95A4-DBE5BDD87759}" dt="2022-10-20T12:09:26.123" v="308"/>
        <pc:sldMkLst>
          <pc:docMk/>
          <pc:sldMk cId="1746071922" sldId="141169471"/>
        </pc:sldMkLst>
        <pc:spChg chg="del">
          <ac:chgData name="Griffiths, Christopher Philip" userId="bc7606ee-3bfa-478f-8fb1-5eaf56546c9f" providerId="ADAL" clId="{81903930-B589-46DB-95A4-DBE5BDD87759}" dt="2022-10-20T11:59:34.593" v="107" actId="931"/>
          <ac:spMkLst>
            <pc:docMk/>
            <pc:sldMk cId="1746071922" sldId="141169471"/>
            <ac:spMk id="2" creationId="{893192F3-FB06-EF63-3D54-75703BCCA6A5}"/>
          </ac:spMkLst>
        </pc:spChg>
        <pc:spChg chg="mod">
          <ac:chgData name="Griffiths, Christopher Philip" userId="bc7606ee-3bfa-478f-8fb1-5eaf56546c9f" providerId="ADAL" clId="{81903930-B589-46DB-95A4-DBE5BDD87759}" dt="2022-10-20T11:57:04.478" v="81" actId="20577"/>
          <ac:spMkLst>
            <pc:docMk/>
            <pc:sldMk cId="1746071922" sldId="141169471"/>
            <ac:spMk id="3" creationId="{67176F13-7B60-2EF0-1516-787FA1669D3B}"/>
          </ac:spMkLst>
        </pc:spChg>
        <pc:spChg chg="mod">
          <ac:chgData name="Griffiths, Christopher Philip" userId="bc7606ee-3bfa-478f-8fb1-5eaf56546c9f" providerId="ADAL" clId="{81903930-B589-46DB-95A4-DBE5BDD87759}" dt="2022-10-20T11:59:41.430" v="108" actId="1076"/>
          <ac:spMkLst>
            <pc:docMk/>
            <pc:sldMk cId="1746071922" sldId="141169471"/>
            <ac:spMk id="4" creationId="{B9AA8CBD-6E76-9CFF-A15B-65C7E387CC07}"/>
          </ac:spMkLst>
        </pc:spChg>
        <pc:picChg chg="add mod">
          <ac:chgData name="Griffiths, Christopher Philip" userId="bc7606ee-3bfa-478f-8fb1-5eaf56546c9f" providerId="ADAL" clId="{81903930-B589-46DB-95A4-DBE5BDD87759}" dt="2022-10-20T11:59:34.593" v="107" actId="931"/>
          <ac:picMkLst>
            <pc:docMk/>
            <pc:sldMk cId="1746071922" sldId="141169471"/>
            <ac:picMk id="10" creationId="{4D9A8097-A6BA-C92C-91CE-0002A69A5617}"/>
          </ac:picMkLst>
        </pc:picChg>
      </pc:sldChg>
      <pc:sldChg chg="delSp modSp add del mod">
        <pc:chgData name="Griffiths, Christopher Philip" userId="bc7606ee-3bfa-478f-8fb1-5eaf56546c9f" providerId="ADAL" clId="{81903930-B589-46DB-95A4-DBE5BDD87759}" dt="2022-10-20T12:08:59.324" v="304" actId="47"/>
        <pc:sldMkLst>
          <pc:docMk/>
          <pc:sldMk cId="2545817364" sldId="141169472"/>
        </pc:sldMkLst>
        <pc:spChg chg="mod">
          <ac:chgData name="Griffiths, Christopher Philip" userId="bc7606ee-3bfa-478f-8fb1-5eaf56546c9f" providerId="ADAL" clId="{81903930-B589-46DB-95A4-DBE5BDD87759}" dt="2022-10-20T12:05:57.694" v="136" actId="1076"/>
          <ac:spMkLst>
            <pc:docMk/>
            <pc:sldMk cId="2545817364" sldId="141169472"/>
            <ac:spMk id="15" creationId="{4B42682A-9D14-9984-8322-0F64A087D336}"/>
          </ac:spMkLst>
        </pc:spChg>
        <pc:picChg chg="del mod">
          <ac:chgData name="Griffiths, Christopher Philip" userId="bc7606ee-3bfa-478f-8fb1-5eaf56546c9f" providerId="ADAL" clId="{81903930-B589-46DB-95A4-DBE5BDD87759}" dt="2022-10-20T12:05:52.923" v="135" actId="478"/>
          <ac:picMkLst>
            <pc:docMk/>
            <pc:sldMk cId="2545817364" sldId="141169472"/>
            <ac:picMk id="4" creationId="{E31800B3-AA44-A629-B68F-34EB0BF0F41A}"/>
          </ac:picMkLst>
        </pc:picChg>
      </pc:sldChg>
      <pc:sldChg chg="addSp delSp modSp new del mod">
        <pc:chgData name="Griffiths, Christopher Philip" userId="bc7606ee-3bfa-478f-8fb1-5eaf56546c9f" providerId="ADAL" clId="{81903930-B589-46DB-95A4-DBE5BDD87759}" dt="2022-10-20T12:08:58.244" v="303" actId="47"/>
        <pc:sldMkLst>
          <pc:docMk/>
          <pc:sldMk cId="2958011486" sldId="141169473"/>
        </pc:sldMkLst>
        <pc:spChg chg="del">
          <ac:chgData name="Griffiths, Christopher Philip" userId="bc7606ee-3bfa-478f-8fb1-5eaf56546c9f" providerId="ADAL" clId="{81903930-B589-46DB-95A4-DBE5BDD87759}" dt="2022-10-20T12:06:08.771" v="138" actId="931"/>
          <ac:spMkLst>
            <pc:docMk/>
            <pc:sldMk cId="2958011486" sldId="141169473"/>
            <ac:spMk id="2" creationId="{A913199C-173F-FE3D-9243-4901C1728C41}"/>
          </ac:spMkLst>
        </pc:spChg>
        <pc:spChg chg="add mod">
          <ac:chgData name="Griffiths, Christopher Philip" userId="bc7606ee-3bfa-478f-8fb1-5eaf56546c9f" providerId="ADAL" clId="{81903930-B589-46DB-95A4-DBE5BDD87759}" dt="2022-10-20T12:07:44.442" v="227" actId="1076"/>
          <ac:spMkLst>
            <pc:docMk/>
            <pc:sldMk cId="2958011486" sldId="141169473"/>
            <ac:spMk id="9" creationId="{7464749F-C3FC-C009-ACC2-56A6EDC73FA0}"/>
          </ac:spMkLst>
        </pc:spChg>
        <pc:picChg chg="add mod">
          <ac:chgData name="Griffiths, Christopher Philip" userId="bc7606ee-3bfa-478f-8fb1-5eaf56546c9f" providerId="ADAL" clId="{81903930-B589-46DB-95A4-DBE5BDD87759}" dt="2022-10-20T12:07:01.310" v="169"/>
          <ac:picMkLst>
            <pc:docMk/>
            <pc:sldMk cId="2958011486" sldId="141169473"/>
            <ac:picMk id="8" creationId="{26ECD8D3-2284-F5AE-DF4B-133DF2EE4044}"/>
          </ac:picMkLst>
        </pc:picChg>
      </pc:sldChg>
      <pc:sldChg chg="addSp delSp modSp new mod setBg">
        <pc:chgData name="Griffiths, Christopher Philip" userId="bc7606ee-3bfa-478f-8fb1-5eaf56546c9f" providerId="ADAL" clId="{81903930-B589-46DB-95A4-DBE5BDD87759}" dt="2022-10-20T12:09:09.894" v="307" actId="20577"/>
        <pc:sldMkLst>
          <pc:docMk/>
          <pc:sldMk cId="1468128040" sldId="141169474"/>
        </pc:sldMkLst>
        <pc:spChg chg="del">
          <ac:chgData name="Griffiths, Christopher Philip" userId="bc7606ee-3bfa-478f-8fb1-5eaf56546c9f" providerId="ADAL" clId="{81903930-B589-46DB-95A4-DBE5BDD87759}" dt="2022-10-20T12:07:59.179" v="229" actId="931"/>
          <ac:spMkLst>
            <pc:docMk/>
            <pc:sldMk cId="1468128040" sldId="141169474"/>
            <ac:spMk id="2" creationId="{22979A41-3CA1-CF54-D250-0A56D03A5D37}"/>
          </ac:spMkLst>
        </pc:spChg>
        <pc:spChg chg="mod">
          <ac:chgData name="Griffiths, Christopher Philip" userId="bc7606ee-3bfa-478f-8fb1-5eaf56546c9f" providerId="ADAL" clId="{81903930-B589-46DB-95A4-DBE5BDD87759}" dt="2022-10-20T12:08:22.891" v="296" actId="20577"/>
          <ac:spMkLst>
            <pc:docMk/>
            <pc:sldMk cId="1468128040" sldId="141169474"/>
            <ac:spMk id="3" creationId="{17D59E9E-31B8-A46F-5AE9-5C7D0D9F671D}"/>
          </ac:spMkLst>
        </pc:spChg>
        <pc:spChg chg="mod">
          <ac:chgData name="Griffiths, Christopher Philip" userId="bc7606ee-3bfa-478f-8fb1-5eaf56546c9f" providerId="ADAL" clId="{81903930-B589-46DB-95A4-DBE5BDD87759}" dt="2022-10-20T12:09:09.894" v="307" actId="20577"/>
          <ac:spMkLst>
            <pc:docMk/>
            <pc:sldMk cId="1468128040" sldId="141169474"/>
            <ac:spMk id="4" creationId="{002ADD7F-C02D-209D-640C-C39CAD75A6AE}"/>
          </ac:spMkLst>
        </pc:spChg>
        <pc:picChg chg="add mod modCrop">
          <ac:chgData name="Griffiths, Christopher Philip" userId="bc7606ee-3bfa-478f-8fb1-5eaf56546c9f" providerId="ADAL" clId="{81903930-B589-46DB-95A4-DBE5BDD87759}" dt="2022-10-20T12:08:05.108" v="230" actId="18131"/>
          <ac:picMkLst>
            <pc:docMk/>
            <pc:sldMk cId="1468128040" sldId="141169474"/>
            <ac:picMk id="10" creationId="{81CBB5B3-A5E2-08AE-3B05-69AF3A5423D5}"/>
          </ac:picMkLst>
        </pc:picChg>
      </pc:sldChg>
      <pc:sldChg chg="addSp delSp modSp new mod setBg">
        <pc:chgData name="Griffiths, Christopher Philip" userId="bc7606ee-3bfa-478f-8fb1-5eaf56546c9f" providerId="ADAL" clId="{81903930-B589-46DB-95A4-DBE5BDD87759}" dt="2022-10-20T12:16:37.954" v="565"/>
        <pc:sldMkLst>
          <pc:docMk/>
          <pc:sldMk cId="490323899" sldId="141169475"/>
        </pc:sldMkLst>
        <pc:spChg chg="del">
          <ac:chgData name="Griffiths, Christopher Philip" userId="bc7606ee-3bfa-478f-8fb1-5eaf56546c9f" providerId="ADAL" clId="{81903930-B589-46DB-95A4-DBE5BDD87759}" dt="2022-10-20T12:11:55.374" v="310" actId="931"/>
          <ac:spMkLst>
            <pc:docMk/>
            <pc:sldMk cId="490323899" sldId="141169475"/>
            <ac:spMk id="2" creationId="{07936D0A-7CC0-4847-9613-4E4AFD089C41}"/>
          </ac:spMkLst>
        </pc:spChg>
        <pc:spChg chg="mod">
          <ac:chgData name="Griffiths, Christopher Philip" userId="bc7606ee-3bfa-478f-8fb1-5eaf56546c9f" providerId="ADAL" clId="{81903930-B589-46DB-95A4-DBE5BDD87759}" dt="2022-10-20T12:16:21.115" v="562" actId="1076"/>
          <ac:spMkLst>
            <pc:docMk/>
            <pc:sldMk cId="490323899" sldId="141169475"/>
            <ac:spMk id="3" creationId="{026DE04A-DDC3-8AA7-1A01-A0CCC089C406}"/>
          </ac:spMkLst>
        </pc:spChg>
        <pc:spChg chg="mod">
          <ac:chgData name="Griffiths, Christopher Philip" userId="bc7606ee-3bfa-478f-8fb1-5eaf56546c9f" providerId="ADAL" clId="{81903930-B589-46DB-95A4-DBE5BDD87759}" dt="2022-10-20T12:16:31.671" v="564" actId="14100"/>
          <ac:spMkLst>
            <pc:docMk/>
            <pc:sldMk cId="490323899" sldId="141169475"/>
            <ac:spMk id="4" creationId="{83F40298-605F-ADB9-835C-1EED139578A8}"/>
          </ac:spMkLst>
        </pc:spChg>
        <pc:picChg chg="add mod">
          <ac:chgData name="Griffiths, Christopher Philip" userId="bc7606ee-3bfa-478f-8fb1-5eaf56546c9f" providerId="ADAL" clId="{81903930-B589-46DB-95A4-DBE5BDD87759}" dt="2022-10-20T12:12:00.654" v="311" actId="14100"/>
          <ac:picMkLst>
            <pc:docMk/>
            <pc:sldMk cId="490323899" sldId="141169475"/>
            <ac:picMk id="10" creationId="{9E841A3C-96CC-D8B1-FA87-BC29AF34724D}"/>
          </ac:picMkLst>
        </pc:picChg>
        <pc:picChg chg="add mod">
          <ac:chgData name="Griffiths, Christopher Philip" userId="bc7606ee-3bfa-478f-8fb1-5eaf56546c9f" providerId="ADAL" clId="{81903930-B589-46DB-95A4-DBE5BDD87759}" dt="2022-10-20T12:12:39.557" v="316" actId="1076"/>
          <ac:picMkLst>
            <pc:docMk/>
            <pc:sldMk cId="490323899" sldId="141169475"/>
            <ac:picMk id="12" creationId="{4499A068-765F-0F07-F25E-700450781FD9}"/>
          </ac:picMkLst>
        </pc:picChg>
      </pc:sldChg>
    </pc:docChg>
  </pc:docChgLst>
  <pc:docChgLst>
    <pc:chgData name="Griffiths, Christopher Philip" userId="bc7606ee-3bfa-478f-8fb1-5eaf56546c9f" providerId="ADAL" clId="{0FE6BD4D-35C4-4C12-A8A0-1F6E58FF05B5}"/>
    <pc:docChg chg="addSld modSld">
      <pc:chgData name="Griffiths, Christopher Philip" userId="bc7606ee-3bfa-478f-8fb1-5eaf56546c9f" providerId="ADAL" clId="{0FE6BD4D-35C4-4C12-A8A0-1F6E58FF05B5}" dt="2022-10-21T09:57:23.513" v="0"/>
      <pc:docMkLst>
        <pc:docMk/>
      </pc:docMkLst>
      <pc:sldChg chg="add">
        <pc:chgData name="Griffiths, Christopher Philip" userId="bc7606ee-3bfa-478f-8fb1-5eaf56546c9f" providerId="ADAL" clId="{0FE6BD4D-35C4-4C12-A8A0-1F6E58FF05B5}" dt="2022-10-21T09:57:23.513" v="0"/>
        <pc:sldMkLst>
          <pc:docMk/>
          <pc:sldMk cId="4202715901" sldId="14116947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F4DD9B-5673-8E45-B84C-719C1DAD04B6}" type="datetimeFigureOut">
              <a:rPr lang="en-GB" smtClean="0"/>
              <a:t>01/11/2023</a:t>
            </a:fld>
            <a:endParaRPr lang="en-GB"/>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BE0236-4FFA-374A-8090-2822EB2D3FED}" type="slidenum">
              <a:rPr lang="en-GB" smtClean="0"/>
              <a:t>‹#›</a:t>
            </a:fld>
            <a:endParaRPr lang="en-GB"/>
          </a:p>
        </p:txBody>
      </p:sp>
    </p:spTree>
    <p:extLst>
      <p:ext uri="{BB962C8B-B14F-4D97-AF65-F5344CB8AC3E}">
        <p14:creationId xmlns:p14="http://schemas.microsoft.com/office/powerpoint/2010/main" val="3422979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i="1" dirty="0">
                <a:effectLst/>
                <a:latin typeface="Arial" panose="020B0604020202020204" pitchFamily="34" charset="0"/>
                <a:ea typeface="Arial" panose="020B0604020202020204" pitchFamily="34" charset="0"/>
                <a:cs typeface="Times New Roman" panose="02020603050405020304" pitchFamily="18" charset="0"/>
              </a:rPr>
              <a:t>Potensialet for å redusere energibruken i bygg er enormt, og energieffektivisering av bygningsmassen i Norge kan i følge regjeringen føre til en besparelse på minst 10 </a:t>
            </a:r>
            <a:r>
              <a:rPr lang="nb-NO" sz="1800" i="1" dirty="0" err="1">
                <a:effectLst/>
                <a:latin typeface="Arial" panose="020B0604020202020204" pitchFamily="34" charset="0"/>
                <a:ea typeface="Arial" panose="020B0604020202020204" pitchFamily="34" charset="0"/>
                <a:cs typeface="Times New Roman" panose="02020603050405020304" pitchFamily="18" charset="0"/>
              </a:rPr>
              <a:t>TWh</a:t>
            </a:r>
            <a:r>
              <a:rPr lang="nb-NO" sz="1800" i="1" dirty="0">
                <a:effectLst/>
                <a:latin typeface="Arial" panose="020B0604020202020204" pitchFamily="34" charset="0"/>
                <a:ea typeface="Arial" panose="020B0604020202020204" pitchFamily="34" charset="0"/>
                <a:cs typeface="Times New Roman" panose="02020603050405020304" pitchFamily="18" charset="0"/>
              </a:rPr>
              <a:t> årlig. Det er mer enn halvparten av det som trengs for å elektrifisere industrien og transportsektoren.</a:t>
            </a:r>
            <a:endParaRPr lang="nb-NO" sz="1800" dirty="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a:ea typeface="Arial" panose="020B0604020202020204" pitchFamily="34" charset="0"/>
                <a:cs typeface="Arial"/>
              </a:rPr>
              <a:t> </a:t>
            </a:r>
            <a:r>
              <a:rPr lang="nb-NO" sz="1800" i="1">
                <a:latin typeface="Arial"/>
                <a:ea typeface="Arial" panose="020B0604020202020204" pitchFamily="34" charset="0"/>
                <a:cs typeface="Arial"/>
              </a:rPr>
              <a:t>SINTEF beregner enda større besparelser, 35TWh årlig innen 2050.</a:t>
            </a:r>
            <a:endParaRPr lang="nb-NO" sz="1800">
              <a:effectLst/>
              <a:latin typeface="Arial"/>
              <a:ea typeface="Arial" panose="020B0604020202020204" pitchFamily="34" charset="0"/>
              <a:cs typeface="Times New Roman" panose="02020603050405020304" pitchFamily="18" charset="0"/>
            </a:endParaRPr>
          </a:p>
          <a:p>
            <a:endParaRPr lang="nb-NO" sz="1800" i="1" dirty="0">
              <a:latin typeface="Arial"/>
              <a:ea typeface="Arial" panose="020B0604020202020204" pitchFamily="34" charset="0"/>
              <a:cs typeface="Arial"/>
            </a:endParaRPr>
          </a:p>
          <a:p>
            <a:r>
              <a:rPr lang="nb-NO" sz="1800" i="1" dirty="0">
                <a:effectLst/>
                <a:latin typeface="Arial"/>
                <a:ea typeface="Arial" panose="020B0604020202020204" pitchFamily="34" charset="0"/>
                <a:cs typeface="Arial"/>
              </a:rPr>
              <a:t>Gjennom flere år har vi lagt ned en betydelig innsats for å redusere energibruken i bygg. Vi har levert </a:t>
            </a:r>
            <a:r>
              <a:rPr lang="nb-NO" sz="1800" i="1" dirty="0">
                <a:latin typeface="Arial"/>
                <a:ea typeface="Arial" panose="020B0604020202020204" pitchFamily="34" charset="0"/>
                <a:cs typeface="Arial"/>
              </a:rPr>
              <a:t>9 </a:t>
            </a:r>
            <a:r>
              <a:rPr lang="nb-NO" sz="1800" i="1" dirty="0">
                <a:effectLst/>
                <a:latin typeface="Arial"/>
                <a:ea typeface="Arial" panose="020B0604020202020204" pitchFamily="34" charset="0"/>
                <a:cs typeface="Arial"/>
              </a:rPr>
              <a:t>plusshus, </a:t>
            </a:r>
            <a:r>
              <a:rPr lang="nb-NO" sz="1800" i="1" dirty="0">
                <a:latin typeface="Arial"/>
                <a:ea typeface="Arial" panose="020B0604020202020204" pitchFamily="34" charset="0"/>
                <a:cs typeface="Arial"/>
              </a:rPr>
              <a:t>flere nesten nullenergibygg og</a:t>
            </a:r>
            <a:r>
              <a:rPr lang="nb-NO" sz="1800" i="1" dirty="0">
                <a:effectLst/>
                <a:latin typeface="Arial"/>
                <a:ea typeface="Arial" panose="020B0604020202020204" pitchFamily="34" charset="0"/>
                <a:cs typeface="Arial"/>
              </a:rPr>
              <a:t> mellom 40 og 50 bygg med passivhus standard. </a:t>
            </a:r>
            <a:r>
              <a:rPr lang="nb-NO" sz="1800" i="1" dirty="0">
                <a:latin typeface="Arial"/>
                <a:ea typeface="Arial" panose="020B0604020202020204" pitchFamily="34" charset="0"/>
                <a:cs typeface="Arial"/>
              </a:rPr>
              <a:t>Vi har også mange prosjekter under arbeid, særlig når det gjelder boligbygg.</a:t>
            </a:r>
            <a:endParaRPr lang="nb-NO" sz="1800" dirty="0">
              <a:latin typeface="Arial"/>
              <a:ea typeface="Arial" panose="020B0604020202020204" pitchFamily="34" charset="0"/>
              <a:cs typeface="Arial"/>
            </a:endParaRPr>
          </a:p>
          <a:p>
            <a:endParaRPr lang="nb-NO" sz="1800" i="1" dirty="0">
              <a:latin typeface="Arial"/>
              <a:ea typeface="Arial" panose="020B0604020202020204" pitchFamily="34" charset="0"/>
              <a:cs typeface="Arial"/>
            </a:endParaRPr>
          </a:p>
          <a:p>
            <a:r>
              <a:rPr lang="nb-NO" sz="1800" i="1" dirty="0">
                <a:effectLst/>
                <a:latin typeface="Arial"/>
                <a:ea typeface="Arial" panose="020B0604020202020204" pitchFamily="34" charset="0"/>
                <a:cs typeface="Arial"/>
              </a:rPr>
              <a:t>Og de fremste Powerhusene er brukt som utstillingsprosjekter på </a:t>
            </a:r>
            <a:r>
              <a:rPr lang="nb-NO" sz="1800" i="1" dirty="0" err="1">
                <a:effectLst/>
                <a:latin typeface="Arial"/>
                <a:ea typeface="Arial" panose="020B0604020202020204" pitchFamily="34" charset="0"/>
                <a:cs typeface="Arial"/>
              </a:rPr>
              <a:t>FN’s</a:t>
            </a:r>
            <a:r>
              <a:rPr lang="nb-NO" sz="1800" i="1" dirty="0">
                <a:effectLst/>
                <a:latin typeface="Arial"/>
                <a:ea typeface="Arial" panose="020B0604020202020204" pitchFamily="34" charset="0"/>
                <a:cs typeface="Arial"/>
              </a:rPr>
              <a:t> klimakonferanse i fjor høst.</a:t>
            </a:r>
            <a:endParaRPr lang="nb-NO" sz="1800">
              <a:effectLst/>
              <a:latin typeface="Arial"/>
              <a:ea typeface="Arial" panose="020B0604020202020204" pitchFamily="34" charset="0"/>
              <a:cs typeface="Arial"/>
            </a:endParaRPr>
          </a:p>
          <a:p>
            <a:r>
              <a:rPr lang="nb-NO" sz="1800" i="1" dirty="0">
                <a:effectLst/>
                <a:latin typeface="Arial"/>
                <a:ea typeface="Arial" panose="020B0604020202020204" pitchFamily="34" charset="0"/>
                <a:cs typeface="Arial"/>
              </a:rPr>
              <a:t> </a:t>
            </a:r>
            <a:endParaRPr lang="nb-NO" sz="1800" dirty="0">
              <a:effectLst/>
              <a:latin typeface="Arial"/>
              <a:ea typeface="Arial" panose="020B0604020202020204" pitchFamily="34" charset="0"/>
              <a:cs typeface="Arial"/>
            </a:endParaRPr>
          </a:p>
          <a:p>
            <a:r>
              <a:rPr lang="nb-NO" sz="1800" i="1" dirty="0">
                <a:effectLst/>
                <a:latin typeface="Arial"/>
                <a:ea typeface="Arial" panose="020B0604020202020204" pitchFamily="34" charset="0"/>
                <a:cs typeface="Arial"/>
              </a:rPr>
              <a:t>Selv om vi har gjort store fremskritt, er det fortsatt et stort potensial for ytterligere effektivisering. I tillegg blir energiproduksjonen </a:t>
            </a:r>
            <a:r>
              <a:rPr lang="nb-NO" sz="1800" i="1" dirty="0">
                <a:latin typeface="Arial"/>
                <a:ea typeface="Arial" panose="020B0604020202020204" pitchFamily="34" charset="0"/>
                <a:cs typeface="Arial"/>
              </a:rPr>
              <a:t>fra plusshusbyggene</a:t>
            </a:r>
            <a:r>
              <a:rPr lang="nb-NO" sz="1800" i="1" dirty="0">
                <a:effectLst/>
                <a:latin typeface="Arial"/>
                <a:ea typeface="Arial" panose="020B0604020202020204" pitchFamily="34" charset="0"/>
                <a:cs typeface="Arial"/>
              </a:rPr>
              <a:t> viktig.</a:t>
            </a:r>
            <a:endParaRPr lang="nb-NO" sz="1800" dirty="0">
              <a:effectLst/>
              <a:latin typeface="Arial"/>
              <a:ea typeface="Arial" panose="020B0604020202020204" pitchFamily="34" charset="0"/>
              <a:cs typeface="Arial"/>
            </a:endParaRPr>
          </a:p>
          <a:p>
            <a:r>
              <a:rPr lang="nb-NO" sz="1800" i="1" dirty="0">
                <a:effectLst/>
                <a:latin typeface="Arial"/>
                <a:ea typeface="Arial" panose="020B0604020202020204" pitchFamily="34" charset="0"/>
                <a:cs typeface="Arial"/>
              </a:rPr>
              <a:t>Vi tror den nye fornybare overskuddsstrømmen vil benyttes direkte av byggene, deles i nabolaget eller eksporteres til strømnettet.</a:t>
            </a:r>
            <a:endParaRPr lang="nb-NO" sz="1800" dirty="0">
              <a:effectLst/>
              <a:latin typeface="Arial"/>
              <a:ea typeface="Arial" panose="020B0604020202020204" pitchFamily="34" charset="0"/>
              <a:cs typeface="Arial"/>
            </a:endParaRPr>
          </a:p>
          <a:p>
            <a:r>
              <a:rPr lang="nb-NO" sz="1800" b="1" i="1" dirty="0">
                <a:effectLst/>
                <a:latin typeface="Arial"/>
                <a:ea typeface="Arial" panose="020B0604020202020204" pitchFamily="34" charset="0"/>
                <a:cs typeface="Arial"/>
              </a:rPr>
              <a:t> </a:t>
            </a:r>
            <a:endParaRPr lang="nb-NO" sz="1800" dirty="0">
              <a:effectLst/>
              <a:latin typeface="Arial"/>
              <a:ea typeface="Arial" panose="020B0604020202020204" pitchFamily="34" charset="0"/>
              <a:cs typeface="Arial"/>
            </a:endParaRPr>
          </a:p>
          <a:p>
            <a:endParaRPr lang="nb-NO" dirty="0"/>
          </a:p>
        </p:txBody>
      </p:sp>
      <p:sp>
        <p:nvSpPr>
          <p:cNvPr id="4" name="Slide Number Placeholder 3"/>
          <p:cNvSpPr>
            <a:spLocks noGrp="1"/>
          </p:cNvSpPr>
          <p:nvPr>
            <p:ph type="sldNum" sz="quarter" idx="5"/>
          </p:nvPr>
        </p:nvSpPr>
        <p:spPr/>
        <p:txBody>
          <a:bodyPr/>
          <a:lstStyle/>
          <a:p>
            <a:fld id="{F9BE0236-4FFA-374A-8090-2822EB2D3FED}" type="slidenum">
              <a:rPr lang="en-GB" smtClean="0"/>
              <a:t>2</a:t>
            </a:fld>
            <a:endParaRPr lang="en-GB"/>
          </a:p>
        </p:txBody>
      </p:sp>
    </p:spTree>
    <p:extLst>
      <p:ext uri="{BB962C8B-B14F-4D97-AF65-F5344CB8AC3E}">
        <p14:creationId xmlns:p14="http://schemas.microsoft.com/office/powerpoint/2010/main" val="3013087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defRPr/>
            </a:pPr>
            <a:r>
              <a:rPr lang="nb-NO" dirty="0"/>
              <a:t>Et godt eksempel på plusshus er Powerhouse Kjørbo, der vi rehabiliterte et kontorbygg som brukte 250 kWh/m2år til å produsere mer energi enn det bruker. Ved å benytte samme tankegang, konsepter og løsninger i flere bygg, med tett oppfølging fra designfase til driftsfase, har vi videreutviklet våre løsninger. Prisen har også blitt redusert.</a:t>
            </a:r>
          </a:p>
          <a:p>
            <a:endParaRPr lang="nb-NO" dirty="0">
              <a:cs typeface="Calibri" panose="020F0502020204030204"/>
            </a:endParaRPr>
          </a:p>
          <a:p>
            <a:r>
              <a:rPr lang="nb-NO" dirty="0">
                <a:cs typeface="Calibri" panose="020F0502020204030204"/>
              </a:rPr>
              <a:t>I dag hevder vi at merkostnaden for å bygge plussenergibygg er liten. Finnes det egentlig gode argumenter for å ikke gjøre det i alle bygg?</a:t>
            </a:r>
          </a:p>
          <a:p>
            <a:endParaRPr lang="nb-NO" dirty="0">
              <a:cs typeface="Calibri" panose="020F0502020204030204"/>
            </a:endParaRPr>
          </a:p>
        </p:txBody>
      </p:sp>
      <p:sp>
        <p:nvSpPr>
          <p:cNvPr id="4" name="Plassholder for lysbildenummer 3"/>
          <p:cNvSpPr>
            <a:spLocks noGrp="1"/>
          </p:cNvSpPr>
          <p:nvPr>
            <p:ph type="sldNum" sz="quarter" idx="5"/>
          </p:nvPr>
        </p:nvSpPr>
        <p:spPr/>
        <p:txBody>
          <a:bodyPr/>
          <a:lstStyle/>
          <a:p>
            <a:fld id="{F9BE0236-4FFA-374A-8090-2822EB2D3FED}" type="slidenum">
              <a:rPr lang="en-GB" smtClean="0"/>
              <a:t>3</a:t>
            </a:fld>
            <a:endParaRPr lang="en-GB"/>
          </a:p>
        </p:txBody>
      </p:sp>
    </p:spTree>
    <p:extLst>
      <p:ext uri="{BB962C8B-B14F-4D97-AF65-F5344CB8AC3E}">
        <p14:creationId xmlns:p14="http://schemas.microsoft.com/office/powerpoint/2010/main" val="341994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cs typeface="Calibri"/>
              </a:rPr>
              <a:t>Her er vår "kokebok" for å oppnå svært energieffektive bygg. Den kan også like gjerne brukes hjemme som på byggeplassen!</a:t>
            </a:r>
            <a:endParaRPr lang="nb-NO" dirty="0"/>
          </a:p>
        </p:txBody>
      </p:sp>
      <p:sp>
        <p:nvSpPr>
          <p:cNvPr id="4" name="Slide Number Placeholder 3"/>
          <p:cNvSpPr>
            <a:spLocks noGrp="1"/>
          </p:cNvSpPr>
          <p:nvPr>
            <p:ph type="sldNum" sz="quarter" idx="5"/>
          </p:nvPr>
        </p:nvSpPr>
        <p:spPr/>
        <p:txBody>
          <a:bodyPr/>
          <a:lstStyle/>
          <a:p>
            <a:fld id="{F9BE0236-4FFA-374A-8090-2822EB2D3FED}" type="slidenum">
              <a:rPr lang="en-GB" smtClean="0"/>
              <a:t>4</a:t>
            </a:fld>
            <a:endParaRPr lang="en-GB"/>
          </a:p>
        </p:txBody>
      </p:sp>
    </p:spTree>
    <p:extLst>
      <p:ext uri="{BB962C8B-B14F-4D97-AF65-F5344CB8AC3E}">
        <p14:creationId xmlns:p14="http://schemas.microsoft.com/office/powerpoint/2010/main" val="33469120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Generic Image Start">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F25FCAC-9D7B-3242-B85D-0E4AD5A08447}"/>
              </a:ext>
            </a:extLst>
          </p:cNvPr>
          <p:cNvSpPr>
            <a:spLocks noGrp="1"/>
          </p:cNvSpPr>
          <p:nvPr>
            <p:ph type="pic" sz="quarter" idx="13" hasCustomPrompt="1"/>
          </p:nvPr>
        </p:nvSpPr>
        <p:spPr>
          <a:xfrm>
            <a:off x="2" y="2"/>
            <a:ext cx="12191999" cy="6857999"/>
          </a:xfrm>
          <a:custGeom>
            <a:avLst/>
            <a:gdLst>
              <a:gd name="connsiteX0" fmla="*/ 4964326 w 12191999"/>
              <a:gd name="connsiteY0" fmla="*/ 3115140 h 6857999"/>
              <a:gd name="connsiteX1" fmla="*/ 5103655 w 12191999"/>
              <a:gd name="connsiteY1" fmla="*/ 3528679 h 6857999"/>
              <a:gd name="connsiteX2" fmla="*/ 4829444 w 12191999"/>
              <a:gd name="connsiteY2" fmla="*/ 3528679 h 6857999"/>
              <a:gd name="connsiteX3" fmla="*/ 9196063 w 12191999"/>
              <a:gd name="connsiteY3" fmla="*/ 3115140 h 6857999"/>
              <a:gd name="connsiteX4" fmla="*/ 9335392 w 12191999"/>
              <a:gd name="connsiteY4" fmla="*/ 3528679 h 6857999"/>
              <a:gd name="connsiteX5" fmla="*/ 9061181 w 12191999"/>
              <a:gd name="connsiteY5" fmla="*/ 3528679 h 6857999"/>
              <a:gd name="connsiteX6" fmla="*/ 5595751 w 12191999"/>
              <a:gd name="connsiteY6" fmla="*/ 2890584 h 6857999"/>
              <a:gd name="connsiteX7" fmla="*/ 5595751 w 12191999"/>
              <a:gd name="connsiteY7" fmla="*/ 3968157 h 6857999"/>
              <a:gd name="connsiteX8" fmla="*/ 5845505 w 12191999"/>
              <a:gd name="connsiteY8" fmla="*/ 3968157 h 6857999"/>
              <a:gd name="connsiteX9" fmla="*/ 5845505 w 12191999"/>
              <a:gd name="connsiteY9" fmla="*/ 3303382 h 6857999"/>
              <a:gd name="connsiteX10" fmla="*/ 6274608 w 12191999"/>
              <a:gd name="connsiteY10" fmla="*/ 3965934 h 6857999"/>
              <a:gd name="connsiteX11" fmla="*/ 6274608 w 12191999"/>
              <a:gd name="connsiteY11" fmla="*/ 3968157 h 6857999"/>
              <a:gd name="connsiteX12" fmla="*/ 6533255 w 12191999"/>
              <a:gd name="connsiteY12" fmla="*/ 3968157 h 6857999"/>
              <a:gd name="connsiteX13" fmla="*/ 6532514 w 12191999"/>
              <a:gd name="connsiteY13" fmla="*/ 3735449 h 6857999"/>
              <a:gd name="connsiteX14" fmla="*/ 6531032 w 12191999"/>
              <a:gd name="connsiteY14" fmla="*/ 2890584 h 6857999"/>
              <a:gd name="connsiteX15" fmla="*/ 6282760 w 12191999"/>
              <a:gd name="connsiteY15" fmla="*/ 2890584 h 6857999"/>
              <a:gd name="connsiteX16" fmla="*/ 6282760 w 12191999"/>
              <a:gd name="connsiteY16" fmla="*/ 3567958 h 6857999"/>
              <a:gd name="connsiteX17" fmla="*/ 5849952 w 12191999"/>
              <a:gd name="connsiteY17" fmla="*/ 2890584 h 6857999"/>
              <a:gd name="connsiteX18" fmla="*/ 4802022 w 12191999"/>
              <a:gd name="connsiteY18" fmla="*/ 2890584 h 6857999"/>
              <a:gd name="connsiteX19" fmla="*/ 4429245 w 12191999"/>
              <a:gd name="connsiteY19" fmla="*/ 3968157 h 6857999"/>
              <a:gd name="connsiteX20" fmla="*/ 4692339 w 12191999"/>
              <a:gd name="connsiteY20" fmla="*/ 3968157 h 6857999"/>
              <a:gd name="connsiteX21" fmla="*/ 4760520 w 12191999"/>
              <a:gd name="connsiteY21" fmla="*/ 3748048 h 6857999"/>
              <a:gd name="connsiteX22" fmla="*/ 5173319 w 12191999"/>
              <a:gd name="connsiteY22" fmla="*/ 3748048 h 6857999"/>
              <a:gd name="connsiteX23" fmla="*/ 5243725 w 12191999"/>
              <a:gd name="connsiteY23" fmla="*/ 3968157 h 6857999"/>
              <a:gd name="connsiteX24" fmla="*/ 5503113 w 12191999"/>
              <a:gd name="connsiteY24" fmla="*/ 3968157 h 6857999"/>
              <a:gd name="connsiteX25" fmla="*/ 5119218 w 12191999"/>
              <a:gd name="connsiteY25" fmla="*/ 2890584 h 6857999"/>
              <a:gd name="connsiteX26" fmla="*/ 2791392 w 12191999"/>
              <a:gd name="connsiteY26" fmla="*/ 2890584 h 6857999"/>
              <a:gd name="connsiteX27" fmla="*/ 2457151 w 12191999"/>
              <a:gd name="connsiteY27" fmla="*/ 3218154 h 6857999"/>
              <a:gd name="connsiteX28" fmla="*/ 2791392 w 12191999"/>
              <a:gd name="connsiteY28" fmla="*/ 3532385 h 6857999"/>
              <a:gd name="connsiteX29" fmla="*/ 3046334 w 12191999"/>
              <a:gd name="connsiteY29" fmla="*/ 3532385 h 6857999"/>
              <a:gd name="connsiteX30" fmla="*/ 3143419 w 12191999"/>
              <a:gd name="connsiteY30" fmla="*/ 3632434 h 6857999"/>
              <a:gd name="connsiteX31" fmla="*/ 3046334 w 12191999"/>
              <a:gd name="connsiteY31" fmla="*/ 3732484 h 6857999"/>
              <a:gd name="connsiteX32" fmla="*/ 2500136 w 12191999"/>
              <a:gd name="connsiteY32" fmla="*/ 3732484 h 6857999"/>
              <a:gd name="connsiteX33" fmla="*/ 2500136 w 12191999"/>
              <a:gd name="connsiteY33" fmla="*/ 3968157 h 6857999"/>
              <a:gd name="connsiteX34" fmla="*/ 3036699 w 12191999"/>
              <a:gd name="connsiteY34" fmla="*/ 3968157 h 6857999"/>
              <a:gd name="connsiteX35" fmla="*/ 3375386 w 12191999"/>
              <a:gd name="connsiteY35" fmla="*/ 3632434 h 6857999"/>
              <a:gd name="connsiteX36" fmla="*/ 3084871 w 12191999"/>
              <a:gd name="connsiteY36" fmla="*/ 3318204 h 6857999"/>
              <a:gd name="connsiteX37" fmla="*/ 2791392 w 12191999"/>
              <a:gd name="connsiteY37" fmla="*/ 3318204 h 6857999"/>
              <a:gd name="connsiteX38" fmla="*/ 2689860 w 12191999"/>
              <a:gd name="connsiteY38" fmla="*/ 3218154 h 6857999"/>
              <a:gd name="connsiteX39" fmla="*/ 2791392 w 12191999"/>
              <a:gd name="connsiteY39" fmla="*/ 3118105 h 6857999"/>
              <a:gd name="connsiteX40" fmla="*/ 3300534 w 12191999"/>
              <a:gd name="connsiteY40" fmla="*/ 3118105 h 6857999"/>
              <a:gd name="connsiteX41" fmla="*/ 3300534 w 12191999"/>
              <a:gd name="connsiteY41" fmla="*/ 2890584 h 6857999"/>
              <a:gd name="connsiteX42" fmla="*/ 9033760 w 12191999"/>
              <a:gd name="connsiteY42" fmla="*/ 2890583 h 6857999"/>
              <a:gd name="connsiteX43" fmla="*/ 8661723 w 12191999"/>
              <a:gd name="connsiteY43" fmla="*/ 3968157 h 6857999"/>
              <a:gd name="connsiteX44" fmla="*/ 8924817 w 12191999"/>
              <a:gd name="connsiteY44" fmla="*/ 3968157 h 6857999"/>
              <a:gd name="connsiteX45" fmla="*/ 8992999 w 12191999"/>
              <a:gd name="connsiteY45" fmla="*/ 3748048 h 6857999"/>
              <a:gd name="connsiteX46" fmla="*/ 9405797 w 12191999"/>
              <a:gd name="connsiteY46" fmla="*/ 3748048 h 6857999"/>
              <a:gd name="connsiteX47" fmla="*/ 9476203 w 12191999"/>
              <a:gd name="connsiteY47" fmla="*/ 3968157 h 6857999"/>
              <a:gd name="connsiteX48" fmla="*/ 9734850 w 12191999"/>
              <a:gd name="connsiteY48" fmla="*/ 3968157 h 6857999"/>
              <a:gd name="connsiteX49" fmla="*/ 9350955 w 12191999"/>
              <a:gd name="connsiteY49" fmla="*/ 2890583 h 6857999"/>
              <a:gd name="connsiteX50" fmla="*/ 7018682 w 12191999"/>
              <a:gd name="connsiteY50" fmla="*/ 2890583 h 6857999"/>
              <a:gd name="connsiteX51" fmla="*/ 6684441 w 12191999"/>
              <a:gd name="connsiteY51" fmla="*/ 3218154 h 6857999"/>
              <a:gd name="connsiteX52" fmla="*/ 7018682 w 12191999"/>
              <a:gd name="connsiteY52" fmla="*/ 3532385 h 6857999"/>
              <a:gd name="connsiteX53" fmla="*/ 7273623 w 12191999"/>
              <a:gd name="connsiteY53" fmla="*/ 3532385 h 6857999"/>
              <a:gd name="connsiteX54" fmla="*/ 7370709 w 12191999"/>
              <a:gd name="connsiteY54" fmla="*/ 3632434 h 6857999"/>
              <a:gd name="connsiteX55" fmla="*/ 7273623 w 12191999"/>
              <a:gd name="connsiteY55" fmla="*/ 3732484 h 6857999"/>
              <a:gd name="connsiteX56" fmla="*/ 6728167 w 12191999"/>
              <a:gd name="connsiteY56" fmla="*/ 3732484 h 6857999"/>
              <a:gd name="connsiteX57" fmla="*/ 6728167 w 12191999"/>
              <a:gd name="connsiteY57" fmla="*/ 3968157 h 6857999"/>
              <a:gd name="connsiteX58" fmla="*/ 7264730 w 12191999"/>
              <a:gd name="connsiteY58" fmla="*/ 3968157 h 6857999"/>
              <a:gd name="connsiteX59" fmla="*/ 7603417 w 12191999"/>
              <a:gd name="connsiteY59" fmla="*/ 3632434 h 6857999"/>
              <a:gd name="connsiteX60" fmla="*/ 7312161 w 12191999"/>
              <a:gd name="connsiteY60" fmla="*/ 3318204 h 6857999"/>
              <a:gd name="connsiteX61" fmla="*/ 7018682 w 12191999"/>
              <a:gd name="connsiteY61" fmla="*/ 3318204 h 6857999"/>
              <a:gd name="connsiteX62" fmla="*/ 6917150 w 12191999"/>
              <a:gd name="connsiteY62" fmla="*/ 3218154 h 6857999"/>
              <a:gd name="connsiteX63" fmla="*/ 7018682 w 12191999"/>
              <a:gd name="connsiteY63" fmla="*/ 3118104 h 6857999"/>
              <a:gd name="connsiteX64" fmla="*/ 7527824 w 12191999"/>
              <a:gd name="connsiteY64" fmla="*/ 3118104 h 6857999"/>
              <a:gd name="connsiteX65" fmla="*/ 7527824 w 12191999"/>
              <a:gd name="connsiteY65" fmla="*/ 2890583 h 6857999"/>
              <a:gd name="connsiteX66" fmla="*/ 3520644 w 12191999"/>
              <a:gd name="connsiteY66" fmla="*/ 2889843 h 6857999"/>
              <a:gd name="connsiteX67" fmla="*/ 3520644 w 12191999"/>
              <a:gd name="connsiteY67" fmla="*/ 3968157 h 6857999"/>
              <a:gd name="connsiteX68" fmla="*/ 3768916 w 12191999"/>
              <a:gd name="connsiteY68" fmla="*/ 3968157 h 6857999"/>
              <a:gd name="connsiteX69" fmla="*/ 3768916 w 12191999"/>
              <a:gd name="connsiteY69" fmla="*/ 3513116 h 6857999"/>
              <a:gd name="connsiteX70" fmla="*/ 4123167 w 12191999"/>
              <a:gd name="connsiteY70" fmla="*/ 3968157 h 6857999"/>
              <a:gd name="connsiteX71" fmla="*/ 4413681 w 12191999"/>
              <a:gd name="connsiteY71" fmla="*/ 3968157 h 6857999"/>
              <a:gd name="connsiteX72" fmla="*/ 4005330 w 12191999"/>
              <a:gd name="connsiteY72" fmla="*/ 3429370 h 6857999"/>
              <a:gd name="connsiteX73" fmla="*/ 4413681 w 12191999"/>
              <a:gd name="connsiteY73" fmla="*/ 2889843 h 6857999"/>
              <a:gd name="connsiteX74" fmla="*/ 4123167 w 12191999"/>
              <a:gd name="connsiteY74" fmla="*/ 2889843 h 6857999"/>
              <a:gd name="connsiteX75" fmla="*/ 3768916 w 12191999"/>
              <a:gd name="connsiteY75" fmla="*/ 3344884 h 6857999"/>
              <a:gd name="connsiteX76" fmla="*/ 3768916 w 12191999"/>
              <a:gd name="connsiteY76" fmla="*/ 2889843 h 6857999"/>
              <a:gd name="connsiteX77" fmla="*/ 7752381 w 12191999"/>
              <a:gd name="connsiteY77" fmla="*/ 2889842 h 6857999"/>
              <a:gd name="connsiteX78" fmla="*/ 7752381 w 12191999"/>
              <a:gd name="connsiteY78" fmla="*/ 3968157 h 6857999"/>
              <a:gd name="connsiteX79" fmla="*/ 8001394 w 12191999"/>
              <a:gd name="connsiteY79" fmla="*/ 3968157 h 6857999"/>
              <a:gd name="connsiteX80" fmla="*/ 8001394 w 12191999"/>
              <a:gd name="connsiteY80" fmla="*/ 3513116 h 6857999"/>
              <a:gd name="connsiteX81" fmla="*/ 8355645 w 12191999"/>
              <a:gd name="connsiteY81" fmla="*/ 3968157 h 6857999"/>
              <a:gd name="connsiteX82" fmla="*/ 8645419 w 12191999"/>
              <a:gd name="connsiteY82" fmla="*/ 3968157 h 6857999"/>
              <a:gd name="connsiteX83" fmla="*/ 8237809 w 12191999"/>
              <a:gd name="connsiteY83" fmla="*/ 3429370 h 6857999"/>
              <a:gd name="connsiteX84" fmla="*/ 8645419 w 12191999"/>
              <a:gd name="connsiteY84" fmla="*/ 2889842 h 6857999"/>
              <a:gd name="connsiteX85" fmla="*/ 8355645 w 12191999"/>
              <a:gd name="connsiteY85" fmla="*/ 2889842 h 6857999"/>
              <a:gd name="connsiteX86" fmla="*/ 8001394 w 12191999"/>
              <a:gd name="connsiteY86" fmla="*/ 3344884 h 6857999"/>
              <a:gd name="connsiteX87" fmla="*/ 8001394 w 12191999"/>
              <a:gd name="connsiteY87" fmla="*/ 2889842 h 6857999"/>
              <a:gd name="connsiteX88" fmla="*/ 0 w 12191999"/>
              <a:gd name="connsiteY88" fmla="*/ 0 h 6857999"/>
              <a:gd name="connsiteX89" fmla="*/ 12191999 w 12191999"/>
              <a:gd name="connsiteY89" fmla="*/ 0 h 6857999"/>
              <a:gd name="connsiteX90" fmla="*/ 12191999 w 12191999"/>
              <a:gd name="connsiteY90" fmla="*/ 6857999 h 6857999"/>
              <a:gd name="connsiteX91" fmla="*/ 0 w 12191999"/>
              <a:gd name="connsiteY91"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9" h="6857999">
                <a:moveTo>
                  <a:pt x="4964326" y="3115140"/>
                </a:moveTo>
                <a:lnTo>
                  <a:pt x="5103655" y="3528679"/>
                </a:lnTo>
                <a:lnTo>
                  <a:pt x="4829444" y="3528679"/>
                </a:lnTo>
                <a:close/>
                <a:moveTo>
                  <a:pt x="9196063" y="3115140"/>
                </a:moveTo>
                <a:lnTo>
                  <a:pt x="9335392" y="3528679"/>
                </a:lnTo>
                <a:lnTo>
                  <a:pt x="9061181" y="3528679"/>
                </a:lnTo>
                <a:close/>
                <a:moveTo>
                  <a:pt x="5595751" y="2890584"/>
                </a:moveTo>
                <a:lnTo>
                  <a:pt x="5595751" y="3968157"/>
                </a:lnTo>
                <a:lnTo>
                  <a:pt x="5845505" y="3968157"/>
                </a:lnTo>
                <a:lnTo>
                  <a:pt x="5845505" y="3303382"/>
                </a:lnTo>
                <a:lnTo>
                  <a:pt x="6274608" y="3965934"/>
                </a:lnTo>
                <a:lnTo>
                  <a:pt x="6274608" y="3968157"/>
                </a:lnTo>
                <a:lnTo>
                  <a:pt x="6533255" y="3968157"/>
                </a:lnTo>
                <a:lnTo>
                  <a:pt x="6532514" y="3735449"/>
                </a:lnTo>
                <a:lnTo>
                  <a:pt x="6531032" y="2890584"/>
                </a:lnTo>
                <a:lnTo>
                  <a:pt x="6282760" y="2890584"/>
                </a:lnTo>
                <a:lnTo>
                  <a:pt x="6282760" y="3567958"/>
                </a:lnTo>
                <a:lnTo>
                  <a:pt x="5849952" y="2890584"/>
                </a:lnTo>
                <a:close/>
                <a:moveTo>
                  <a:pt x="4802022" y="2890584"/>
                </a:moveTo>
                <a:lnTo>
                  <a:pt x="4429245" y="3968157"/>
                </a:lnTo>
                <a:lnTo>
                  <a:pt x="4692339" y="3968157"/>
                </a:lnTo>
                <a:lnTo>
                  <a:pt x="4760520" y="3748048"/>
                </a:lnTo>
                <a:lnTo>
                  <a:pt x="5173319" y="3748048"/>
                </a:lnTo>
                <a:lnTo>
                  <a:pt x="5243725" y="3968157"/>
                </a:lnTo>
                <a:lnTo>
                  <a:pt x="5503113" y="3968157"/>
                </a:lnTo>
                <a:lnTo>
                  <a:pt x="5119218" y="2890584"/>
                </a:lnTo>
                <a:close/>
                <a:moveTo>
                  <a:pt x="2791392" y="2890584"/>
                </a:moveTo>
                <a:cubicBezTo>
                  <a:pt x="2583140" y="2890584"/>
                  <a:pt x="2457151" y="3012125"/>
                  <a:pt x="2457151" y="3218154"/>
                </a:cubicBezTo>
                <a:cubicBezTo>
                  <a:pt x="2457151" y="3424184"/>
                  <a:pt x="2603150" y="3532385"/>
                  <a:pt x="2791392" y="3532385"/>
                </a:cubicBezTo>
                <a:lnTo>
                  <a:pt x="3046334" y="3532385"/>
                </a:lnTo>
                <a:cubicBezTo>
                  <a:pt x="3110810" y="3532385"/>
                  <a:pt x="3143419" y="3581298"/>
                  <a:pt x="3143419" y="3632434"/>
                </a:cubicBezTo>
                <a:cubicBezTo>
                  <a:pt x="3143419" y="3685053"/>
                  <a:pt x="3110810" y="3732484"/>
                  <a:pt x="3046334" y="3732484"/>
                </a:cubicBezTo>
                <a:lnTo>
                  <a:pt x="2500136" y="3732484"/>
                </a:lnTo>
                <a:lnTo>
                  <a:pt x="2500136" y="3968157"/>
                </a:lnTo>
                <a:lnTo>
                  <a:pt x="3036699" y="3968157"/>
                </a:lnTo>
                <a:cubicBezTo>
                  <a:pt x="3249398" y="3968157"/>
                  <a:pt x="3375386" y="3851062"/>
                  <a:pt x="3375386" y="3632434"/>
                </a:cubicBezTo>
                <a:cubicBezTo>
                  <a:pt x="3375386" y="3435299"/>
                  <a:pt x="3249398" y="3318204"/>
                  <a:pt x="3084871" y="3318204"/>
                </a:cubicBezTo>
                <a:lnTo>
                  <a:pt x="2791392" y="3318204"/>
                </a:lnTo>
                <a:cubicBezTo>
                  <a:pt x="2722468" y="3318204"/>
                  <a:pt x="2689860" y="3270773"/>
                  <a:pt x="2689860" y="3218154"/>
                </a:cubicBezTo>
                <a:cubicBezTo>
                  <a:pt x="2689860" y="3165536"/>
                  <a:pt x="2722468" y="3118105"/>
                  <a:pt x="2791392" y="3118105"/>
                </a:cubicBezTo>
                <a:lnTo>
                  <a:pt x="3300534" y="3118105"/>
                </a:lnTo>
                <a:lnTo>
                  <a:pt x="3300534" y="2890584"/>
                </a:lnTo>
                <a:close/>
                <a:moveTo>
                  <a:pt x="9033760" y="2890583"/>
                </a:moveTo>
                <a:lnTo>
                  <a:pt x="8661723" y="3968157"/>
                </a:lnTo>
                <a:lnTo>
                  <a:pt x="8924817" y="3968157"/>
                </a:lnTo>
                <a:lnTo>
                  <a:pt x="8992999" y="3748048"/>
                </a:lnTo>
                <a:lnTo>
                  <a:pt x="9405797" y="3748048"/>
                </a:lnTo>
                <a:lnTo>
                  <a:pt x="9476203" y="3968157"/>
                </a:lnTo>
                <a:lnTo>
                  <a:pt x="9734850" y="3968157"/>
                </a:lnTo>
                <a:lnTo>
                  <a:pt x="9350955" y="2890583"/>
                </a:lnTo>
                <a:close/>
                <a:moveTo>
                  <a:pt x="7018682" y="2890583"/>
                </a:moveTo>
                <a:cubicBezTo>
                  <a:pt x="6811171" y="2890583"/>
                  <a:pt x="6684441" y="3012125"/>
                  <a:pt x="6684441" y="3218154"/>
                </a:cubicBezTo>
                <a:cubicBezTo>
                  <a:pt x="6684441" y="3424183"/>
                  <a:pt x="6830440" y="3532385"/>
                  <a:pt x="7018682" y="3532385"/>
                </a:cubicBezTo>
                <a:lnTo>
                  <a:pt x="7273623" y="3532385"/>
                </a:lnTo>
                <a:cubicBezTo>
                  <a:pt x="7338100" y="3532385"/>
                  <a:pt x="7370709" y="3581298"/>
                  <a:pt x="7370709" y="3632434"/>
                </a:cubicBezTo>
                <a:cubicBezTo>
                  <a:pt x="7370709" y="3685053"/>
                  <a:pt x="7338100" y="3732484"/>
                  <a:pt x="7273623" y="3732484"/>
                </a:cubicBezTo>
                <a:lnTo>
                  <a:pt x="6728167" y="3732484"/>
                </a:lnTo>
                <a:lnTo>
                  <a:pt x="6728167" y="3968157"/>
                </a:lnTo>
                <a:lnTo>
                  <a:pt x="7264730" y="3968157"/>
                </a:lnTo>
                <a:cubicBezTo>
                  <a:pt x="7477429" y="3968157"/>
                  <a:pt x="7603417" y="3851062"/>
                  <a:pt x="7603417" y="3632434"/>
                </a:cubicBezTo>
                <a:cubicBezTo>
                  <a:pt x="7603417" y="3435299"/>
                  <a:pt x="7476687" y="3318204"/>
                  <a:pt x="7312161" y="3318204"/>
                </a:cubicBezTo>
                <a:lnTo>
                  <a:pt x="7018682" y="3318204"/>
                </a:lnTo>
                <a:cubicBezTo>
                  <a:pt x="6949758" y="3318204"/>
                  <a:pt x="6917150" y="3270773"/>
                  <a:pt x="6917150" y="3218154"/>
                </a:cubicBezTo>
                <a:cubicBezTo>
                  <a:pt x="6917150" y="3165535"/>
                  <a:pt x="6949758" y="3118104"/>
                  <a:pt x="7018682" y="3118104"/>
                </a:cubicBezTo>
                <a:lnTo>
                  <a:pt x="7527824" y="3118104"/>
                </a:lnTo>
                <a:lnTo>
                  <a:pt x="7527824" y="2890583"/>
                </a:lnTo>
                <a:close/>
                <a:moveTo>
                  <a:pt x="3520644" y="2889843"/>
                </a:moveTo>
                <a:lnTo>
                  <a:pt x="3520644" y="3968157"/>
                </a:lnTo>
                <a:lnTo>
                  <a:pt x="3768916" y="3968157"/>
                </a:lnTo>
                <a:lnTo>
                  <a:pt x="3768916" y="3513116"/>
                </a:lnTo>
                <a:lnTo>
                  <a:pt x="4123167" y="3968157"/>
                </a:lnTo>
                <a:lnTo>
                  <a:pt x="4413681" y="3968157"/>
                </a:lnTo>
                <a:lnTo>
                  <a:pt x="4005330" y="3429370"/>
                </a:lnTo>
                <a:lnTo>
                  <a:pt x="4413681" y="2889843"/>
                </a:lnTo>
                <a:lnTo>
                  <a:pt x="4123167" y="2889843"/>
                </a:lnTo>
                <a:lnTo>
                  <a:pt x="3768916" y="3344884"/>
                </a:lnTo>
                <a:lnTo>
                  <a:pt x="3768916" y="2889843"/>
                </a:lnTo>
                <a:close/>
                <a:moveTo>
                  <a:pt x="7752381" y="2889842"/>
                </a:moveTo>
                <a:lnTo>
                  <a:pt x="7752381" y="3968157"/>
                </a:lnTo>
                <a:lnTo>
                  <a:pt x="8001394" y="3968157"/>
                </a:lnTo>
                <a:lnTo>
                  <a:pt x="8001394" y="3513116"/>
                </a:lnTo>
                <a:lnTo>
                  <a:pt x="8355645" y="3968157"/>
                </a:lnTo>
                <a:lnTo>
                  <a:pt x="8645419" y="3968157"/>
                </a:lnTo>
                <a:lnTo>
                  <a:pt x="8237809" y="3429370"/>
                </a:lnTo>
                <a:lnTo>
                  <a:pt x="8645419" y="2889842"/>
                </a:lnTo>
                <a:lnTo>
                  <a:pt x="8355645" y="2889842"/>
                </a:lnTo>
                <a:lnTo>
                  <a:pt x="8001394" y="3344884"/>
                </a:lnTo>
                <a:lnTo>
                  <a:pt x="8001394" y="2889842"/>
                </a:lnTo>
                <a:close/>
                <a:moveTo>
                  <a:pt x="0" y="0"/>
                </a:moveTo>
                <a:lnTo>
                  <a:pt x="12191999" y="0"/>
                </a:lnTo>
                <a:lnTo>
                  <a:pt x="12191999" y="6857999"/>
                </a:lnTo>
                <a:lnTo>
                  <a:pt x="0" y="6857999"/>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7" name="textruta 5">
            <a:extLst>
              <a:ext uri="{FF2B5EF4-FFF2-40B4-BE49-F238E27FC236}">
                <a16:creationId xmlns:a16="http://schemas.microsoft.com/office/drawing/2014/main" id="{DD15DF14-DC97-0441-A680-C2968AEFA30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8" name="textruta 7">
            <a:extLst>
              <a:ext uri="{FF2B5EF4-FFF2-40B4-BE49-F238E27FC236}">
                <a16:creationId xmlns:a16="http://schemas.microsoft.com/office/drawing/2014/main" id="{E0537F98-ABDA-2B41-84CF-74F9E5F3D4D6}"/>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9" name="Rektangel 8">
            <a:extLst>
              <a:ext uri="{FF2B5EF4-FFF2-40B4-BE49-F238E27FC236}">
                <a16:creationId xmlns:a16="http://schemas.microsoft.com/office/drawing/2014/main" id="{2969CE8A-3B45-0F4A-88EC-7412D4614DB6}"/>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Rektangel 9">
            <a:extLst>
              <a:ext uri="{FF2B5EF4-FFF2-40B4-BE49-F238E27FC236}">
                <a16:creationId xmlns:a16="http://schemas.microsoft.com/office/drawing/2014/main" id="{12D09706-7225-E047-9047-32D75A378E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latshållare för datum 3">
            <a:extLst>
              <a:ext uri="{FF2B5EF4-FFF2-40B4-BE49-F238E27FC236}">
                <a16:creationId xmlns:a16="http://schemas.microsoft.com/office/drawing/2014/main" id="{F74004CF-C3E5-3943-9A9D-0E34F13D0C8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3D663361-8E12-4F19-B746-13EF7D66B05E}" type="datetime1">
              <a:rPr lang="en-US" noProof="0" smtClean="0"/>
              <a:t>11/1/2023</a:t>
            </a:fld>
            <a:endParaRPr lang="en-US" noProof="0"/>
          </a:p>
        </p:txBody>
      </p:sp>
      <p:sp>
        <p:nvSpPr>
          <p:cNvPr id="12" name="Platshållare för sidfot 4">
            <a:extLst>
              <a:ext uri="{FF2B5EF4-FFF2-40B4-BE49-F238E27FC236}">
                <a16:creationId xmlns:a16="http://schemas.microsoft.com/office/drawing/2014/main" id="{7C78A853-3A62-1149-8811-A74301AE818D}"/>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3" name="Platshållare för bildnummer 5">
            <a:extLst>
              <a:ext uri="{FF2B5EF4-FFF2-40B4-BE49-F238E27FC236}">
                <a16:creationId xmlns:a16="http://schemas.microsoft.com/office/drawing/2014/main" id="{A5B2B420-68E9-D240-9BB2-E641E29E3B8A}"/>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5" name="Text Placeholder 4">
            <a:extLst>
              <a:ext uri="{FF2B5EF4-FFF2-40B4-BE49-F238E27FC236}">
                <a16:creationId xmlns:a16="http://schemas.microsoft.com/office/drawing/2014/main" id="{802D05FC-CE7D-3C4B-99E7-04400D2B953E}"/>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751435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hapter Slide Gray with Image">
    <p:bg>
      <p:bgRef idx="1001">
        <a:schemeClr val="bg2"/>
      </p:bgRef>
    </p:bg>
    <p:spTree>
      <p:nvGrpSpPr>
        <p:cNvPr id="1" name=""/>
        <p:cNvGrpSpPr/>
        <p:nvPr/>
      </p:nvGrpSpPr>
      <p:grpSpPr>
        <a:xfrm>
          <a:off x="0" y="0"/>
          <a:ext cx="0" cy="0"/>
          <a:chOff x="0" y="0"/>
          <a:chExt cx="0" cy="0"/>
        </a:xfrm>
      </p:grpSpPr>
      <p:sp>
        <p:nvSpPr>
          <p:cNvPr id="18" name="Picture Placeholder 6">
            <a:extLst>
              <a:ext uri="{FF2B5EF4-FFF2-40B4-BE49-F238E27FC236}">
                <a16:creationId xmlns:a16="http://schemas.microsoft.com/office/drawing/2014/main" id="{106399E1-1DE8-EE44-81BD-42302CB5679F}"/>
              </a:ext>
            </a:extLst>
          </p:cNvPr>
          <p:cNvSpPr>
            <a:spLocks noGrp="1"/>
          </p:cNvSpPr>
          <p:nvPr>
            <p:ph type="pic" sz="quarter" idx="17" hasCustomPrompt="1"/>
          </p:nvPr>
        </p:nvSpPr>
        <p:spPr>
          <a:xfrm>
            <a:off x="8140700" y="0"/>
            <a:ext cx="4051300" cy="6871252"/>
          </a:xfrm>
          <a:solidFill>
            <a:schemeClr val="bg1">
              <a:lumMod val="85000"/>
            </a:schemeClr>
          </a:solidFill>
        </p:spPr>
        <p:txBody>
          <a:bodyPr lIns="36000" tIns="36000"/>
          <a:lstStyle>
            <a:lvl1pPr marL="1270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300">
                <a:solidFill>
                  <a:schemeClr val="tx2"/>
                </a:solidFill>
              </a:defRPr>
            </a:lvl1pPr>
          </a:lstStyle>
          <a:p>
            <a:pPr marL="1270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Click on the icon to add an image</a:t>
            </a:r>
          </a:p>
          <a:p>
            <a:endParaRPr lang="en-US" noProof="0"/>
          </a:p>
        </p:txBody>
      </p:sp>
      <p:sp>
        <p:nvSpPr>
          <p:cNvPr id="21" name="Text Placeholder 18">
            <a:extLst>
              <a:ext uri="{FF2B5EF4-FFF2-40B4-BE49-F238E27FC236}">
                <a16:creationId xmlns:a16="http://schemas.microsoft.com/office/drawing/2014/main" id="{50055E5E-7191-EB40-B5EB-0E791AADEDE6}"/>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a:t>
            </a:r>
            <a:br>
              <a:rPr lang="en-US" noProof="0" dirty="0"/>
            </a:br>
            <a:r>
              <a:rPr lang="en-US" noProof="0" dirty="0"/>
              <a:t>of maximum two lines</a:t>
            </a:r>
          </a:p>
        </p:txBody>
      </p:sp>
      <p:sp>
        <p:nvSpPr>
          <p:cNvPr id="15" name="textruta 5">
            <a:extLst>
              <a:ext uri="{FF2B5EF4-FFF2-40B4-BE49-F238E27FC236}">
                <a16:creationId xmlns:a16="http://schemas.microsoft.com/office/drawing/2014/main" id="{5BB9A0DA-E9F3-704C-BDCF-FC259DAC129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6" name="textruta 15">
            <a:extLst>
              <a:ext uri="{FF2B5EF4-FFF2-40B4-BE49-F238E27FC236}">
                <a16:creationId xmlns:a16="http://schemas.microsoft.com/office/drawing/2014/main" id="{DE5DD293-B27B-7A43-85D7-BD43BA58609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A750B50A-9D17-1447-8213-B2935EA38090}"/>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805FC0CB-297F-3541-A68A-BD42D318750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C1E656AC-D790-6747-BBCB-773F08CF710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1A1B4E47-3466-4AAE-B020-B955ABD21C70}" type="datetime1">
              <a:rPr lang="en-US" smtClean="0"/>
              <a:t>11/1/2023</a:t>
            </a:fld>
            <a:endParaRPr lang="en-US"/>
          </a:p>
        </p:txBody>
      </p:sp>
      <p:sp>
        <p:nvSpPr>
          <p:cNvPr id="13" name="Platshållare för sidfot 4">
            <a:extLst>
              <a:ext uri="{FF2B5EF4-FFF2-40B4-BE49-F238E27FC236}">
                <a16:creationId xmlns:a16="http://schemas.microsoft.com/office/drawing/2014/main" id="{40B4A8CA-2E45-A045-B4BB-84023FBA6237}"/>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a:t>Go to header/footer to change text </a:t>
            </a:r>
          </a:p>
        </p:txBody>
      </p:sp>
      <p:sp>
        <p:nvSpPr>
          <p:cNvPr id="14" name="Platshållare för bildnummer 5">
            <a:extLst>
              <a:ext uri="{FF2B5EF4-FFF2-40B4-BE49-F238E27FC236}">
                <a16:creationId xmlns:a16="http://schemas.microsoft.com/office/drawing/2014/main" id="{C3BE8E53-4D78-2E41-90C4-8F359A150CF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AF3ED186-03E9-BF49-9B8A-A3A46C27486D}"/>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5D042DC5-C8A9-A442-8F32-57CD5268BF3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49009F17-D779-5145-9AC9-A4741D09DA8A}"/>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AF2DB5F-29AA-F344-B820-7625411CFA14}"/>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3D982866-6026-7843-B715-D5599284755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915BDE88-4874-DF43-B095-7EDD389D143D}"/>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E7B51E0D-BC49-D54F-9169-3AEFCD179A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B673B569-AEC2-0F44-9550-4C24E96FE9F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0" name="Text Placeholder 4">
            <a:extLst>
              <a:ext uri="{FF2B5EF4-FFF2-40B4-BE49-F238E27FC236}">
                <a16:creationId xmlns:a16="http://schemas.microsoft.com/office/drawing/2014/main" id="{378DBF66-B159-FE4E-AD15-AFE89C32D5EE}"/>
              </a:ext>
            </a:extLst>
          </p:cNvPr>
          <p:cNvSpPr>
            <a:spLocks noGrp="1"/>
          </p:cNvSpPr>
          <p:nvPr>
            <p:ph type="body" sz="quarter" idx="18"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86017710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hapter Slide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1" name="Text Placeholder 18">
            <a:extLst>
              <a:ext uri="{FF2B5EF4-FFF2-40B4-BE49-F238E27FC236}">
                <a16:creationId xmlns:a16="http://schemas.microsoft.com/office/drawing/2014/main" id="{9E632AA3-7BD2-F044-BBB9-1D2351901556}"/>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bg1"/>
                </a:solidFill>
                <a:latin typeface="+mj-lt"/>
              </a:defRPr>
            </a:lvl1pPr>
          </a:lstStyle>
          <a:p>
            <a:pPr lvl="0"/>
            <a:r>
              <a:rPr lang="en-US" noProof="0" dirty="0"/>
              <a:t>Click to add a headline </a:t>
            </a:r>
            <a:br>
              <a:rPr lang="en-US" noProof="0" dirty="0"/>
            </a:br>
            <a:r>
              <a:rPr lang="en-US" noProof="0" dirty="0"/>
              <a:t>of maximum two lines</a:t>
            </a:r>
          </a:p>
        </p:txBody>
      </p:sp>
      <p:sp>
        <p:nvSpPr>
          <p:cNvPr id="9" name="textruta 5">
            <a:extLst>
              <a:ext uri="{FF2B5EF4-FFF2-40B4-BE49-F238E27FC236}">
                <a16:creationId xmlns:a16="http://schemas.microsoft.com/office/drawing/2014/main" id="{FC83AE35-878B-F54A-AFFF-15CF59CCA970}"/>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0" name="textruta 9">
            <a:extLst>
              <a:ext uri="{FF2B5EF4-FFF2-40B4-BE49-F238E27FC236}">
                <a16:creationId xmlns:a16="http://schemas.microsoft.com/office/drawing/2014/main" id="{8847623D-7CF8-354F-90BA-8A886C948F9B}"/>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3B9D092F-3826-0D44-BE12-8BDC39E229E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ktangel 12">
            <a:extLst>
              <a:ext uri="{FF2B5EF4-FFF2-40B4-BE49-F238E27FC236}">
                <a16:creationId xmlns:a16="http://schemas.microsoft.com/office/drawing/2014/main" id="{EAF63052-34D6-4B45-BFD9-6062FD759EA4}"/>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Platshållare för datum 3">
            <a:extLst>
              <a:ext uri="{FF2B5EF4-FFF2-40B4-BE49-F238E27FC236}">
                <a16:creationId xmlns:a16="http://schemas.microsoft.com/office/drawing/2014/main" id="{F4416C58-A6AA-C94C-8C8A-86F42C888BE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E5DECE41-20E6-4429-BCD8-D77E2FEF6897}" type="datetime1">
              <a:rPr lang="en-US" smtClean="0"/>
              <a:t>11/1/2023</a:t>
            </a:fld>
            <a:endParaRPr lang="en-US"/>
          </a:p>
        </p:txBody>
      </p:sp>
      <p:sp>
        <p:nvSpPr>
          <p:cNvPr id="15" name="Platshållare för sidfot 4">
            <a:extLst>
              <a:ext uri="{FF2B5EF4-FFF2-40B4-BE49-F238E27FC236}">
                <a16:creationId xmlns:a16="http://schemas.microsoft.com/office/drawing/2014/main" id="{AADA9FE3-6667-C34F-A267-E7ABD2B40D8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6" name="Platshållare för bildnummer 5">
            <a:extLst>
              <a:ext uri="{FF2B5EF4-FFF2-40B4-BE49-F238E27FC236}">
                <a16:creationId xmlns:a16="http://schemas.microsoft.com/office/drawing/2014/main" id="{614442EC-CDBE-5D44-AF43-E14C53E2E85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8" name="Text Placeholder 4">
            <a:extLst>
              <a:ext uri="{FF2B5EF4-FFF2-40B4-BE49-F238E27FC236}">
                <a16:creationId xmlns:a16="http://schemas.microsoft.com/office/drawing/2014/main" id="{A821A6FF-8152-7648-AA0D-49C723505D2B}"/>
              </a:ext>
            </a:extLst>
          </p:cNvPr>
          <p:cNvSpPr>
            <a:spLocks noGrp="1"/>
          </p:cNvSpPr>
          <p:nvPr>
            <p:ph type="body" sz="quarter" idx="15"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515550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Agenda Image">
    <p:bg>
      <p:bgPr>
        <a:solidFill>
          <a:schemeClr val="tx2"/>
        </a:solidFill>
        <a:effectLst/>
      </p:bgPr>
    </p:bg>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9E321D00-36B4-854A-96FD-995EBC9F18B5}"/>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5367178" cy="461527"/>
          </a:xfrm>
          <a:prstGeom prst="rect">
            <a:avLst/>
          </a:prstGeom>
        </p:spPr>
        <p:txBody>
          <a:bodyPr anchor="t">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dirty="0"/>
              <a:t>Click for a short headline </a:t>
            </a:r>
          </a:p>
        </p:txBody>
      </p:sp>
      <p:sp>
        <p:nvSpPr>
          <p:cNvPr id="40" name="Text Placeholder 8">
            <a:extLst>
              <a:ext uri="{FF2B5EF4-FFF2-40B4-BE49-F238E27FC236}">
                <a16:creationId xmlns:a16="http://schemas.microsoft.com/office/drawing/2014/main" id="{71F6E362-8923-6340-A1FF-64BF191D73D7}"/>
              </a:ext>
            </a:extLst>
          </p:cNvPr>
          <p:cNvSpPr>
            <a:spLocks noGrp="1"/>
          </p:cNvSpPr>
          <p:nvPr>
            <p:ph type="body" sz="quarter" idx="15" hasCustomPrompt="1"/>
          </p:nvPr>
        </p:nvSpPr>
        <p:spPr>
          <a:xfrm>
            <a:off x="576263" y="1746000"/>
            <a:ext cx="3481387" cy="4391999"/>
          </a:xfrm>
        </p:spPr>
        <p:txBody>
          <a:bodyPr/>
          <a:lstStyle>
            <a:lvl1pPr marL="342000" indent="-342000">
              <a:lnSpc>
                <a:spcPct val="100000"/>
              </a:lnSpc>
              <a:spcBef>
                <a:spcPts val="0"/>
              </a:spcBef>
              <a:spcAft>
                <a:spcPts val="1000"/>
              </a:spcAft>
              <a:buFont typeface="+mj-lt"/>
              <a:buAutoNum type="arabicPeriod"/>
              <a:defRPr sz="1800" spc="40" baseline="0"/>
            </a:lvl1pPr>
            <a:lvl2pPr marL="342000" indent="-342000">
              <a:lnSpc>
                <a:spcPct val="100000"/>
              </a:lnSpc>
              <a:spcAft>
                <a:spcPts val="1000"/>
              </a:spcAft>
              <a:tabLst/>
              <a:defRPr sz="1800" spc="40" baseline="0"/>
            </a:lvl2pPr>
            <a:lvl3pPr>
              <a:defRPr sz="1400" spc="40" baseline="0"/>
            </a:lvl3pPr>
            <a:lvl4pPr>
              <a:defRPr sz="1200" spc="40" baseline="0"/>
            </a:lvl4pPr>
            <a:lvl5pPr>
              <a:defRPr sz="1100" spc="40" baseline="0"/>
            </a:lvl5pPr>
          </a:lstStyle>
          <a:p>
            <a:pPr lvl="0"/>
            <a:r>
              <a:rPr lang="en-US" noProof="0"/>
              <a:t>Click for agenda</a:t>
            </a:r>
          </a:p>
        </p:txBody>
      </p:sp>
      <p:sp>
        <p:nvSpPr>
          <p:cNvPr id="8" name="textruta 5">
            <a:extLst>
              <a:ext uri="{FF2B5EF4-FFF2-40B4-BE49-F238E27FC236}">
                <a16:creationId xmlns:a16="http://schemas.microsoft.com/office/drawing/2014/main" id="{52378F2C-FB46-444B-B9E1-375B7ADD4B1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83DB998B-6166-B149-AE9C-B422BE1B47A4}"/>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9EEE8BC0-6652-EC43-AA7F-F1FAA638F0F5}"/>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2330825F-2C3A-E940-8BCE-84CDB2959E3C}"/>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AD14E924-4B6E-E044-956D-07AF9BDB57A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96E53A53-1111-4681-8863-F4648142B146}" type="datetime1">
              <a:rPr lang="en-US" noProof="0" smtClean="0"/>
              <a:t>11/1/2023</a:t>
            </a:fld>
            <a:endParaRPr lang="en-US" noProof="0"/>
          </a:p>
        </p:txBody>
      </p:sp>
      <p:sp>
        <p:nvSpPr>
          <p:cNvPr id="13" name="Platshållare för sidfot 4">
            <a:extLst>
              <a:ext uri="{FF2B5EF4-FFF2-40B4-BE49-F238E27FC236}">
                <a16:creationId xmlns:a16="http://schemas.microsoft.com/office/drawing/2014/main" id="{28AD8562-F435-1A48-9C6F-90DF02615EC9}"/>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4" name="Platshållare för bildnummer 5">
            <a:extLst>
              <a:ext uri="{FF2B5EF4-FFF2-40B4-BE49-F238E27FC236}">
                <a16:creationId xmlns:a16="http://schemas.microsoft.com/office/drawing/2014/main" id="{8B527D98-9E89-F146-9E47-C60DCD8A439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16" name="Text Placeholder 4">
            <a:extLst>
              <a:ext uri="{FF2B5EF4-FFF2-40B4-BE49-F238E27FC236}">
                <a16:creationId xmlns:a16="http://schemas.microsoft.com/office/drawing/2014/main" id="{8AAA2FCE-F264-5543-8138-9D199FF97531}"/>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411960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Agenda 2 Columns Image">
    <p:bg>
      <p:bgPr>
        <a:solidFill>
          <a:schemeClr val="bg1"/>
        </a:solidFill>
        <a:effectLst/>
      </p:bgPr>
    </p:bg>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9E321D00-36B4-854A-96FD-995EBC9F18B5}"/>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5367178" cy="377279"/>
          </a:xfrm>
          <a:prstGeom prst="rect">
            <a:avLst/>
          </a:prstGeom>
        </p:spPr>
        <p:txBody>
          <a:bodyPr anchor="t">
            <a:noAutofit/>
          </a:bodyPr>
          <a:lstStyle>
            <a:lvl1pPr marL="0" indent="0">
              <a:lnSpc>
                <a:spcPct val="85000"/>
              </a:lnSpc>
              <a:spcBef>
                <a:spcPts val="0"/>
              </a:spcBef>
              <a:buNone/>
              <a:defRPr sz="3600" spc="40" baseline="0">
                <a:solidFill>
                  <a:schemeClr val="bg1"/>
                </a:solidFill>
                <a:latin typeface="+mj-lt"/>
              </a:defRPr>
            </a:lvl1pPr>
          </a:lstStyle>
          <a:p>
            <a:pPr lvl="0"/>
            <a:r>
              <a:rPr lang="en-US" noProof="0" dirty="0"/>
              <a:t>Click for a short headline </a:t>
            </a:r>
          </a:p>
        </p:txBody>
      </p:sp>
      <p:sp>
        <p:nvSpPr>
          <p:cNvPr id="9" name="Text Placeholder 8">
            <a:extLst>
              <a:ext uri="{FF2B5EF4-FFF2-40B4-BE49-F238E27FC236}">
                <a16:creationId xmlns:a16="http://schemas.microsoft.com/office/drawing/2014/main" id="{A02FE398-BCDE-144D-BB12-B6AB8C96E842}"/>
              </a:ext>
            </a:extLst>
          </p:cNvPr>
          <p:cNvSpPr>
            <a:spLocks noGrp="1"/>
          </p:cNvSpPr>
          <p:nvPr>
            <p:ph type="body" sz="quarter" idx="15" hasCustomPrompt="1"/>
          </p:nvPr>
        </p:nvSpPr>
        <p:spPr>
          <a:xfrm>
            <a:off x="576263" y="1746000"/>
            <a:ext cx="7253287" cy="4391999"/>
          </a:xfrm>
        </p:spPr>
        <p:txBody>
          <a:bodyPr numCol="2" spcCol="288000"/>
          <a:lstStyle>
            <a:lvl1pPr marL="342000" indent="-342000">
              <a:lnSpc>
                <a:spcPct val="100000"/>
              </a:lnSpc>
              <a:spcBef>
                <a:spcPts val="0"/>
              </a:spcBef>
              <a:spcAft>
                <a:spcPts val="1000"/>
              </a:spcAft>
              <a:buFont typeface="+mj-lt"/>
              <a:buAutoNum type="arabicPeriod"/>
              <a:defRPr sz="1800" spc="40" baseline="0">
                <a:solidFill>
                  <a:schemeClr val="bg1"/>
                </a:solidFill>
              </a:defRPr>
            </a:lvl1pPr>
            <a:lvl2pPr marL="342000" indent="-342000">
              <a:lnSpc>
                <a:spcPct val="100000"/>
              </a:lnSpc>
              <a:spcBef>
                <a:spcPts val="0"/>
              </a:spcBef>
              <a:spcAft>
                <a:spcPts val="1000"/>
              </a:spcAft>
              <a:tabLst/>
              <a:defRPr sz="1800" spc="40" baseline="0">
                <a:solidFill>
                  <a:schemeClr val="bg1"/>
                </a:solidFill>
              </a:defRPr>
            </a:lvl2pPr>
            <a:lvl3pPr>
              <a:defRPr sz="1400" spc="40" baseline="0">
                <a:solidFill>
                  <a:schemeClr val="bg1"/>
                </a:solidFill>
              </a:defRPr>
            </a:lvl3pPr>
            <a:lvl4pPr>
              <a:defRPr sz="1200" spc="40" baseline="0">
                <a:solidFill>
                  <a:schemeClr val="bg1"/>
                </a:solidFill>
              </a:defRPr>
            </a:lvl4pPr>
            <a:lvl5pPr>
              <a:defRPr sz="1100" spc="40" baseline="0">
                <a:solidFill>
                  <a:schemeClr val="bg1"/>
                </a:solidFill>
              </a:defRPr>
            </a:lvl5pPr>
          </a:lstStyle>
          <a:p>
            <a:pPr lvl="0"/>
            <a:r>
              <a:rPr lang="en-US" noProof="0"/>
              <a:t>Click for agenda</a:t>
            </a:r>
          </a:p>
        </p:txBody>
      </p:sp>
      <p:sp>
        <p:nvSpPr>
          <p:cNvPr id="8" name="textruta 5">
            <a:extLst>
              <a:ext uri="{FF2B5EF4-FFF2-40B4-BE49-F238E27FC236}">
                <a16:creationId xmlns:a16="http://schemas.microsoft.com/office/drawing/2014/main" id="{00284F2E-F31D-BF4B-994C-3E331A29D07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0" name="textruta 9">
            <a:extLst>
              <a:ext uri="{FF2B5EF4-FFF2-40B4-BE49-F238E27FC236}">
                <a16:creationId xmlns:a16="http://schemas.microsoft.com/office/drawing/2014/main" id="{E1BCA37F-BCB7-E04A-BF96-DF2F97908106}"/>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1" name="Rektangel 10">
            <a:extLst>
              <a:ext uri="{FF2B5EF4-FFF2-40B4-BE49-F238E27FC236}">
                <a16:creationId xmlns:a16="http://schemas.microsoft.com/office/drawing/2014/main" id="{81504CAB-86DC-7B40-8E88-8772421ABA81}"/>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ktangel 11">
            <a:extLst>
              <a:ext uri="{FF2B5EF4-FFF2-40B4-BE49-F238E27FC236}">
                <a16:creationId xmlns:a16="http://schemas.microsoft.com/office/drawing/2014/main" id="{F7F99CA5-DEDA-AF48-B232-7095F0A1D6DD}"/>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Platshållare för datum 3">
            <a:extLst>
              <a:ext uri="{FF2B5EF4-FFF2-40B4-BE49-F238E27FC236}">
                <a16:creationId xmlns:a16="http://schemas.microsoft.com/office/drawing/2014/main" id="{A95B9798-476C-D144-8E9A-D4892976764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6A4A4E5C-C03E-4656-BF9E-23A94EB50E91}" type="datetime1">
              <a:rPr lang="en-US" smtClean="0"/>
              <a:t>11/1/2023</a:t>
            </a:fld>
            <a:endParaRPr lang="en-US"/>
          </a:p>
        </p:txBody>
      </p:sp>
      <p:sp>
        <p:nvSpPr>
          <p:cNvPr id="14" name="Platshållare för sidfot 4">
            <a:extLst>
              <a:ext uri="{FF2B5EF4-FFF2-40B4-BE49-F238E27FC236}">
                <a16:creationId xmlns:a16="http://schemas.microsoft.com/office/drawing/2014/main" id="{362F5EB4-87A5-8D4D-91EB-B5981406F21D}"/>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5" name="Platshållare för bildnummer 5">
            <a:extLst>
              <a:ext uri="{FF2B5EF4-FFF2-40B4-BE49-F238E27FC236}">
                <a16:creationId xmlns:a16="http://schemas.microsoft.com/office/drawing/2014/main" id="{1B211A98-A085-6149-BADD-E3AF539B746D}"/>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7" name="Text Placeholder 4">
            <a:extLst>
              <a:ext uri="{FF2B5EF4-FFF2-40B4-BE49-F238E27FC236}">
                <a16:creationId xmlns:a16="http://schemas.microsoft.com/office/drawing/2014/main" id="{22B95E08-D2D3-1343-AAFC-765955B17A7B}"/>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738687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Quote Slide Image">
    <p:bg>
      <p:bgPr>
        <a:solidFill>
          <a:schemeClr val="tx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1852246"/>
            <a:ext cx="7253550" cy="2312681"/>
          </a:xfrm>
          <a:prstGeom prst="rect">
            <a:avLst/>
          </a:prstGeom>
        </p:spPr>
        <p:txBody>
          <a:bodyPr anchor="b">
            <a:noAutofit/>
          </a:bodyPr>
          <a:lstStyle>
            <a:lvl1pPr marL="0" indent="0" algn="l">
              <a:lnSpc>
                <a:spcPct val="90000"/>
              </a:lnSpc>
              <a:spcBef>
                <a:spcPts val="0"/>
              </a:spcBef>
              <a:buNone/>
              <a:defRPr sz="3600" spc="40" baseline="0">
                <a:solidFill>
                  <a:schemeClr val="tx2"/>
                </a:solidFill>
                <a:latin typeface="+mj-lt"/>
              </a:defRPr>
            </a:lvl1pPr>
          </a:lstStyle>
          <a:p>
            <a:pPr lvl="0"/>
            <a:r>
              <a:rPr lang="en-US" noProof="0" dirty="0"/>
              <a:t>Click to add a quotation </a:t>
            </a:r>
            <a:br>
              <a:rPr lang="en-US" noProof="0" dirty="0"/>
            </a:br>
            <a:r>
              <a:rPr lang="en-US" noProof="0" dirty="0"/>
              <a:t>of maximum four lines</a:t>
            </a:r>
          </a:p>
        </p:txBody>
      </p:sp>
      <p:sp>
        <p:nvSpPr>
          <p:cNvPr id="9" name="Text Placeholder 18">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en-US" noProof="0"/>
              <a:t>Click to add </a:t>
            </a:r>
            <a:r>
              <a:rPr lang="en-US" sz="1200" noProof="0"/>
              <a:t>Author</a:t>
            </a:r>
            <a:r>
              <a:rPr lang="en-US" noProof="0"/>
              <a:t>/Sender</a:t>
            </a:r>
          </a:p>
        </p:txBody>
      </p:sp>
      <p:sp>
        <p:nvSpPr>
          <p:cNvPr id="10" name="textruta 5">
            <a:extLst>
              <a:ext uri="{FF2B5EF4-FFF2-40B4-BE49-F238E27FC236}">
                <a16:creationId xmlns:a16="http://schemas.microsoft.com/office/drawing/2014/main" id="{6125E698-E501-F948-80A2-6E99F56F7359}"/>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1" name="textruta 10">
            <a:extLst>
              <a:ext uri="{FF2B5EF4-FFF2-40B4-BE49-F238E27FC236}">
                <a16:creationId xmlns:a16="http://schemas.microsoft.com/office/drawing/2014/main" id="{F96DE2D7-6EC7-F04E-BCD5-54998471501A}"/>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51356C9E-5E92-A04E-A4AA-821A446C8B6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ktangel 12">
            <a:extLst>
              <a:ext uri="{FF2B5EF4-FFF2-40B4-BE49-F238E27FC236}">
                <a16:creationId xmlns:a16="http://schemas.microsoft.com/office/drawing/2014/main" id="{15B3ED12-EA8B-F946-BFC3-D77E68E2793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Platshållare för datum 3">
            <a:extLst>
              <a:ext uri="{FF2B5EF4-FFF2-40B4-BE49-F238E27FC236}">
                <a16:creationId xmlns:a16="http://schemas.microsoft.com/office/drawing/2014/main" id="{59A0545A-79C8-8143-9D7B-0E8CFC8BF91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4692E2B9-713D-465E-9295-160FBF6BC115}" type="datetime1">
              <a:rPr lang="en-US" noProof="0" smtClean="0"/>
              <a:t>11/1/2023</a:t>
            </a:fld>
            <a:endParaRPr lang="en-US" noProof="0"/>
          </a:p>
        </p:txBody>
      </p:sp>
      <p:sp>
        <p:nvSpPr>
          <p:cNvPr id="15" name="Platshållare för sidfot 4">
            <a:extLst>
              <a:ext uri="{FF2B5EF4-FFF2-40B4-BE49-F238E27FC236}">
                <a16:creationId xmlns:a16="http://schemas.microsoft.com/office/drawing/2014/main" id="{BCB3CAC7-3F95-5045-B4E2-B10BE41353B0}"/>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6" name="Platshållare för bildnummer 5">
            <a:extLst>
              <a:ext uri="{FF2B5EF4-FFF2-40B4-BE49-F238E27FC236}">
                <a16:creationId xmlns:a16="http://schemas.microsoft.com/office/drawing/2014/main" id="{CE84C9A7-2CB0-2746-830B-CE8D18AC5F3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18" name="Text Placeholder 4">
            <a:extLst>
              <a:ext uri="{FF2B5EF4-FFF2-40B4-BE49-F238E27FC236}">
                <a16:creationId xmlns:a16="http://schemas.microsoft.com/office/drawing/2014/main" id="{646776D4-7C75-C249-9960-04B14FEA5E29}"/>
              </a:ext>
            </a:extLst>
          </p:cNvPr>
          <p:cNvSpPr>
            <a:spLocks noGrp="1"/>
          </p:cNvSpPr>
          <p:nvPr>
            <p:ph type="body" sz="quarter" idx="20"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4537589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Quote Slide Blue">
    <p:bg>
      <p:bgRef idx="1001">
        <a:schemeClr val="bg2"/>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1852246"/>
            <a:ext cx="7253550" cy="2312681"/>
          </a:xfrm>
          <a:prstGeom prst="rect">
            <a:avLst/>
          </a:prstGeom>
        </p:spPr>
        <p:txBody>
          <a:bodyPr anchor="b">
            <a:noAutofit/>
          </a:bodyPr>
          <a:lstStyle>
            <a:lvl1pPr marL="0" indent="0" algn="l">
              <a:lnSpc>
                <a:spcPct val="90000"/>
              </a:lnSpc>
              <a:spcBef>
                <a:spcPts val="0"/>
              </a:spcBef>
              <a:buNone/>
              <a:defRPr sz="3600" spc="40" baseline="0">
                <a:solidFill>
                  <a:schemeClr val="tx2"/>
                </a:solidFill>
                <a:latin typeface="+mj-lt"/>
              </a:defRPr>
            </a:lvl1pPr>
          </a:lstStyle>
          <a:p>
            <a:pPr lvl="0"/>
            <a:r>
              <a:rPr lang="en-US" noProof="0" dirty="0"/>
              <a:t>Click to add a quotation </a:t>
            </a:r>
            <a:br>
              <a:rPr lang="en-US" noProof="0" dirty="0"/>
            </a:br>
            <a:r>
              <a:rPr lang="en-US" noProof="0" dirty="0"/>
              <a:t>of maximum four lines</a:t>
            </a:r>
          </a:p>
        </p:txBody>
      </p:sp>
      <p:sp>
        <p:nvSpPr>
          <p:cNvPr id="9" name="Text Placeholder 18">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en-US" noProof="0"/>
              <a:t>Click to add </a:t>
            </a:r>
            <a:r>
              <a:rPr lang="en-US" sz="1200" noProof="0"/>
              <a:t>Author</a:t>
            </a:r>
            <a:r>
              <a:rPr lang="en-US" noProof="0"/>
              <a:t>/Sender</a:t>
            </a:r>
          </a:p>
        </p:txBody>
      </p:sp>
      <p:sp>
        <p:nvSpPr>
          <p:cNvPr id="14" name="Platshållare för datum 3">
            <a:extLst>
              <a:ext uri="{FF2B5EF4-FFF2-40B4-BE49-F238E27FC236}">
                <a16:creationId xmlns:a16="http://schemas.microsoft.com/office/drawing/2014/main" id="{59A0545A-79C8-8143-9D7B-0E8CFC8BF91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0FD766D6-8BE7-4EB1-83E1-38783B3E58EF}" type="datetime1">
              <a:rPr lang="en-US" noProof="0" smtClean="0"/>
              <a:t>11/1/2023</a:t>
            </a:fld>
            <a:endParaRPr lang="en-US" noProof="0"/>
          </a:p>
        </p:txBody>
      </p:sp>
      <p:sp>
        <p:nvSpPr>
          <p:cNvPr id="15" name="Platshållare för sidfot 4">
            <a:extLst>
              <a:ext uri="{FF2B5EF4-FFF2-40B4-BE49-F238E27FC236}">
                <a16:creationId xmlns:a16="http://schemas.microsoft.com/office/drawing/2014/main" id="{BCB3CAC7-3F95-5045-B4E2-B10BE41353B0}"/>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6" name="Platshållare för bildnummer 5">
            <a:extLst>
              <a:ext uri="{FF2B5EF4-FFF2-40B4-BE49-F238E27FC236}">
                <a16:creationId xmlns:a16="http://schemas.microsoft.com/office/drawing/2014/main" id="{CE84C9A7-2CB0-2746-830B-CE8D18AC5F3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grpSp>
        <p:nvGrpSpPr>
          <p:cNvPr id="18" name="Grupp 32">
            <a:extLst>
              <a:ext uri="{FF2B5EF4-FFF2-40B4-BE49-F238E27FC236}">
                <a16:creationId xmlns:a16="http://schemas.microsoft.com/office/drawing/2014/main" id="{892CF028-CD68-014F-845F-FFFCB68894A8}"/>
              </a:ext>
            </a:extLst>
          </p:cNvPr>
          <p:cNvGrpSpPr/>
          <p:nvPr userDrawn="1"/>
        </p:nvGrpSpPr>
        <p:grpSpPr>
          <a:xfrm>
            <a:off x="576140" y="6451484"/>
            <a:ext cx="615478" cy="91194"/>
            <a:chOff x="576140" y="6451484"/>
            <a:chExt cx="615478" cy="91194"/>
          </a:xfrm>
          <a:solidFill>
            <a:schemeClr val="tx1"/>
          </a:solidFill>
        </p:grpSpPr>
        <p:sp>
          <p:nvSpPr>
            <p:cNvPr id="20" name="Bild 2">
              <a:extLst>
                <a:ext uri="{FF2B5EF4-FFF2-40B4-BE49-F238E27FC236}">
                  <a16:creationId xmlns:a16="http://schemas.microsoft.com/office/drawing/2014/main" id="{BB6F4DFB-1FB4-AF4E-AE93-FD81ADD7997B}"/>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21" name="Bild 2">
              <a:extLst>
                <a:ext uri="{FF2B5EF4-FFF2-40B4-BE49-F238E27FC236}">
                  <a16:creationId xmlns:a16="http://schemas.microsoft.com/office/drawing/2014/main" id="{9302B9C7-F584-3D4B-865C-55B98056491D}"/>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2" name="Bild 2">
              <a:extLst>
                <a:ext uri="{FF2B5EF4-FFF2-40B4-BE49-F238E27FC236}">
                  <a16:creationId xmlns:a16="http://schemas.microsoft.com/office/drawing/2014/main" id="{F985D99D-13E7-EF49-B0AD-01E92B0054E9}"/>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3" name="Bild 2">
              <a:extLst>
                <a:ext uri="{FF2B5EF4-FFF2-40B4-BE49-F238E27FC236}">
                  <a16:creationId xmlns:a16="http://schemas.microsoft.com/office/drawing/2014/main" id="{3E730B4A-6C2F-0E49-8857-CB76E0527421}"/>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4" name="Bild 2">
              <a:extLst>
                <a:ext uri="{FF2B5EF4-FFF2-40B4-BE49-F238E27FC236}">
                  <a16:creationId xmlns:a16="http://schemas.microsoft.com/office/drawing/2014/main" id="{C00A891A-B8BE-A142-A7F1-CCA13BE7ED10}"/>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25" name="Bild 2">
              <a:extLst>
                <a:ext uri="{FF2B5EF4-FFF2-40B4-BE49-F238E27FC236}">
                  <a16:creationId xmlns:a16="http://schemas.microsoft.com/office/drawing/2014/main" id="{05B41D9C-1A87-1044-AF28-2C146A2B9154}"/>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6" name="Bild 2">
              <a:extLst>
                <a:ext uri="{FF2B5EF4-FFF2-40B4-BE49-F238E27FC236}">
                  <a16:creationId xmlns:a16="http://schemas.microsoft.com/office/drawing/2014/main" id="{B6D5D020-32AD-AB4E-BEAD-487BC943A24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Tree>
    <p:extLst>
      <p:ext uri="{BB962C8B-B14F-4D97-AF65-F5344CB8AC3E}">
        <p14:creationId xmlns:p14="http://schemas.microsoft.com/office/powerpoint/2010/main" val="3354409114"/>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Quote Slide Gray">
    <p:bg>
      <p:bgRef idx="1001">
        <a:schemeClr val="bg2"/>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1852246"/>
            <a:ext cx="7253550" cy="2312681"/>
          </a:xfrm>
          <a:prstGeom prst="rect">
            <a:avLst/>
          </a:prstGeom>
        </p:spPr>
        <p:txBody>
          <a:bodyPr anchor="b">
            <a:noAutofit/>
          </a:bodyPr>
          <a:lstStyle>
            <a:lvl1pPr marL="0" indent="0" algn="l">
              <a:lnSpc>
                <a:spcPct val="90000"/>
              </a:lnSpc>
              <a:spcBef>
                <a:spcPts val="0"/>
              </a:spcBef>
              <a:buNone/>
              <a:defRPr sz="3600" spc="40" baseline="0">
                <a:solidFill>
                  <a:schemeClr val="tx2"/>
                </a:solidFill>
                <a:latin typeface="+mj-lt"/>
              </a:defRPr>
            </a:lvl1pPr>
          </a:lstStyle>
          <a:p>
            <a:pPr lvl="0"/>
            <a:r>
              <a:rPr lang="en-US" noProof="0" dirty="0"/>
              <a:t>Click to add a quotation </a:t>
            </a:r>
            <a:br>
              <a:rPr lang="en-US" noProof="0" dirty="0"/>
            </a:br>
            <a:r>
              <a:rPr lang="en-US" noProof="0" dirty="0"/>
              <a:t>of maximum four lines</a:t>
            </a:r>
          </a:p>
        </p:txBody>
      </p:sp>
      <p:sp>
        <p:nvSpPr>
          <p:cNvPr id="9" name="Text Placeholder 18">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en-US" noProof="0"/>
              <a:t>Click to add </a:t>
            </a:r>
            <a:r>
              <a:rPr lang="en-US" sz="1200" noProof="0"/>
              <a:t>Author</a:t>
            </a:r>
            <a:r>
              <a:rPr lang="en-US" noProof="0"/>
              <a:t>/Sender</a:t>
            </a:r>
          </a:p>
        </p:txBody>
      </p:sp>
      <p:sp>
        <p:nvSpPr>
          <p:cNvPr id="14" name="Platshållare för datum 3">
            <a:extLst>
              <a:ext uri="{FF2B5EF4-FFF2-40B4-BE49-F238E27FC236}">
                <a16:creationId xmlns:a16="http://schemas.microsoft.com/office/drawing/2014/main" id="{59A0545A-79C8-8143-9D7B-0E8CFC8BF91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730682AE-BBD0-4CD5-B5BF-8AECC67FE3A9}" type="datetime1">
              <a:rPr lang="en-US" noProof="0" smtClean="0"/>
              <a:t>11/1/2023</a:t>
            </a:fld>
            <a:endParaRPr lang="en-US" noProof="0"/>
          </a:p>
        </p:txBody>
      </p:sp>
      <p:sp>
        <p:nvSpPr>
          <p:cNvPr id="15" name="Platshållare för sidfot 4">
            <a:extLst>
              <a:ext uri="{FF2B5EF4-FFF2-40B4-BE49-F238E27FC236}">
                <a16:creationId xmlns:a16="http://schemas.microsoft.com/office/drawing/2014/main" id="{BCB3CAC7-3F95-5045-B4E2-B10BE41353B0}"/>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6" name="Platshållare för bildnummer 5">
            <a:extLst>
              <a:ext uri="{FF2B5EF4-FFF2-40B4-BE49-F238E27FC236}">
                <a16:creationId xmlns:a16="http://schemas.microsoft.com/office/drawing/2014/main" id="{CE84C9A7-2CB0-2746-830B-CE8D18AC5F3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grpSp>
        <p:nvGrpSpPr>
          <p:cNvPr id="18" name="Grupp 32">
            <a:extLst>
              <a:ext uri="{FF2B5EF4-FFF2-40B4-BE49-F238E27FC236}">
                <a16:creationId xmlns:a16="http://schemas.microsoft.com/office/drawing/2014/main" id="{892CF028-CD68-014F-845F-FFFCB68894A8}"/>
              </a:ext>
            </a:extLst>
          </p:cNvPr>
          <p:cNvGrpSpPr/>
          <p:nvPr userDrawn="1"/>
        </p:nvGrpSpPr>
        <p:grpSpPr>
          <a:xfrm>
            <a:off x="576140" y="6451484"/>
            <a:ext cx="615478" cy="91194"/>
            <a:chOff x="576140" y="6451484"/>
            <a:chExt cx="615478" cy="91194"/>
          </a:xfrm>
          <a:solidFill>
            <a:schemeClr val="tx2"/>
          </a:solidFill>
        </p:grpSpPr>
        <p:sp>
          <p:nvSpPr>
            <p:cNvPr id="20" name="Bild 2">
              <a:extLst>
                <a:ext uri="{FF2B5EF4-FFF2-40B4-BE49-F238E27FC236}">
                  <a16:creationId xmlns:a16="http://schemas.microsoft.com/office/drawing/2014/main" id="{BB6F4DFB-1FB4-AF4E-AE93-FD81ADD7997B}"/>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21" name="Bild 2">
              <a:extLst>
                <a:ext uri="{FF2B5EF4-FFF2-40B4-BE49-F238E27FC236}">
                  <a16:creationId xmlns:a16="http://schemas.microsoft.com/office/drawing/2014/main" id="{9302B9C7-F584-3D4B-865C-55B98056491D}"/>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2" name="Bild 2">
              <a:extLst>
                <a:ext uri="{FF2B5EF4-FFF2-40B4-BE49-F238E27FC236}">
                  <a16:creationId xmlns:a16="http://schemas.microsoft.com/office/drawing/2014/main" id="{F985D99D-13E7-EF49-B0AD-01E92B0054E9}"/>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3" name="Bild 2">
              <a:extLst>
                <a:ext uri="{FF2B5EF4-FFF2-40B4-BE49-F238E27FC236}">
                  <a16:creationId xmlns:a16="http://schemas.microsoft.com/office/drawing/2014/main" id="{3E730B4A-6C2F-0E49-8857-CB76E0527421}"/>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4" name="Bild 2">
              <a:extLst>
                <a:ext uri="{FF2B5EF4-FFF2-40B4-BE49-F238E27FC236}">
                  <a16:creationId xmlns:a16="http://schemas.microsoft.com/office/drawing/2014/main" id="{C00A891A-B8BE-A142-A7F1-CCA13BE7ED10}"/>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25" name="Bild 2">
              <a:extLst>
                <a:ext uri="{FF2B5EF4-FFF2-40B4-BE49-F238E27FC236}">
                  <a16:creationId xmlns:a16="http://schemas.microsoft.com/office/drawing/2014/main" id="{05B41D9C-1A87-1044-AF28-2C146A2B9154}"/>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6" name="Bild 2">
              <a:extLst>
                <a:ext uri="{FF2B5EF4-FFF2-40B4-BE49-F238E27FC236}">
                  <a16:creationId xmlns:a16="http://schemas.microsoft.com/office/drawing/2014/main" id="{B6D5D020-32AD-AB4E-BEAD-487BC943A24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Tree>
    <p:extLst>
      <p:ext uri="{BB962C8B-B14F-4D97-AF65-F5344CB8AC3E}">
        <p14:creationId xmlns:p14="http://schemas.microsoft.com/office/powerpoint/2010/main" val="252204759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 Full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6" name="textruta 5">
            <a:extLst>
              <a:ext uri="{FF2B5EF4-FFF2-40B4-BE49-F238E27FC236}">
                <a16:creationId xmlns:a16="http://schemas.microsoft.com/office/drawing/2014/main" id="{CAF12B7D-4908-C140-8479-BBA74C392BF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6D001312-59F0-0442-8F6B-117B57EE550F}"/>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05ECD74A-D0B6-194F-B25C-1455CC84FABD}"/>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E8C8C4A5-D430-0940-8213-63333989616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83C01208-01E2-5D44-8A25-EF6024C0723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CA2AB31F-4E43-4BCF-8C7F-9B96A4C99B76}" type="datetime1">
              <a:rPr lang="en-US" smtClean="0"/>
              <a:t>11/1/2023</a:t>
            </a:fld>
            <a:endParaRPr lang="en-US"/>
          </a:p>
        </p:txBody>
      </p:sp>
      <p:sp>
        <p:nvSpPr>
          <p:cNvPr id="13" name="Platshållare för sidfot 4">
            <a:extLst>
              <a:ext uri="{FF2B5EF4-FFF2-40B4-BE49-F238E27FC236}">
                <a16:creationId xmlns:a16="http://schemas.microsoft.com/office/drawing/2014/main" id="{68DCE312-A27F-814F-BDDD-00D27A24DD8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4" name="Platshållare för bildnummer 5">
            <a:extLst>
              <a:ext uri="{FF2B5EF4-FFF2-40B4-BE49-F238E27FC236}">
                <a16:creationId xmlns:a16="http://schemas.microsoft.com/office/drawing/2014/main" id="{BF3C2BA5-B91C-7142-BA3D-478DF85F221B}"/>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6" name="Text Placeholder 4">
            <a:extLst>
              <a:ext uri="{FF2B5EF4-FFF2-40B4-BE49-F238E27FC236}">
                <a16:creationId xmlns:a16="http://schemas.microsoft.com/office/drawing/2014/main" id="{E37CECB8-B1B6-D144-BD70-CFF979706847}"/>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831931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Full 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7A464D3A-71AD-CC4E-A666-6026DBFB2FDC}"/>
              </a:ext>
            </a:extLst>
          </p:cNvPr>
          <p:cNvSpPr>
            <a:spLocks noGrp="1"/>
          </p:cNvSpPr>
          <p:nvPr>
            <p:ph type="media" sz="quarter" idx="13" hasCustomPrompt="1"/>
          </p:nvPr>
        </p:nvSpPr>
        <p:spPr>
          <a:xfrm>
            <a:off x="0" y="0"/>
            <a:ext cx="12192000" cy="6858000"/>
          </a:xfrm>
          <a:solidFill>
            <a:srgbClr val="ECECEC"/>
          </a:solidFill>
        </p:spPr>
        <p:txBody>
          <a:bodyPr lIns="36000" tIns="36000" rIns="36000" bIns="36000"/>
          <a:lstStyle>
            <a:lvl1pPr marL="12700" indent="0" algn="ctr">
              <a:buNone/>
              <a:defRPr sz="1300"/>
            </a:lvl1pPr>
          </a:lstStyle>
          <a:p>
            <a:r>
              <a:rPr lang="en-US" noProof="0"/>
              <a:t>Click to add media</a:t>
            </a:r>
          </a:p>
        </p:txBody>
      </p:sp>
      <p:sp>
        <p:nvSpPr>
          <p:cNvPr id="7" name="Platshållare för datum 3">
            <a:extLst>
              <a:ext uri="{FF2B5EF4-FFF2-40B4-BE49-F238E27FC236}">
                <a16:creationId xmlns:a16="http://schemas.microsoft.com/office/drawing/2014/main" id="{A1BA11B1-CD86-5C4E-BECF-D3D588767D0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CE0431C7-7A62-4846-9C27-813CF692B372}" type="datetime1">
              <a:rPr lang="en-US" noProof="0" smtClean="0"/>
              <a:t>11/1/2023</a:t>
            </a:fld>
            <a:endParaRPr lang="en-US" noProof="0"/>
          </a:p>
        </p:txBody>
      </p:sp>
      <p:sp>
        <p:nvSpPr>
          <p:cNvPr id="8" name="Platshållare för sidfot 4">
            <a:extLst>
              <a:ext uri="{FF2B5EF4-FFF2-40B4-BE49-F238E27FC236}">
                <a16:creationId xmlns:a16="http://schemas.microsoft.com/office/drawing/2014/main" id="{6DC7E00E-15FF-1D48-9B00-D5BE75E2493A}"/>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9" name="Platshållare för bildnummer 5">
            <a:extLst>
              <a:ext uri="{FF2B5EF4-FFF2-40B4-BE49-F238E27FC236}">
                <a16:creationId xmlns:a16="http://schemas.microsoft.com/office/drawing/2014/main" id="{E27C82DA-ED11-C248-AB29-689C22549E6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9482607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Three Images Text">
    <p:bg>
      <p:bgPr>
        <a:solidFill>
          <a:schemeClr val="bg1"/>
        </a:solidFill>
        <a:effectLst/>
      </p:bgPr>
    </p:bg>
    <p:spTree>
      <p:nvGrpSpPr>
        <p:cNvPr id="1" name=""/>
        <p:cNvGrpSpPr/>
        <p:nvPr/>
      </p:nvGrpSpPr>
      <p:grpSpPr>
        <a:xfrm>
          <a:off x="0" y="0"/>
          <a:ext cx="0" cy="0"/>
          <a:chOff x="0" y="0"/>
          <a:chExt cx="0" cy="0"/>
        </a:xfrm>
      </p:grpSpPr>
      <p:sp>
        <p:nvSpPr>
          <p:cNvPr id="21" name="Picture Placeholder 17">
            <a:extLst>
              <a:ext uri="{FF2B5EF4-FFF2-40B4-BE49-F238E27FC236}">
                <a16:creationId xmlns:a16="http://schemas.microsoft.com/office/drawing/2014/main" id="{D5A74226-F457-F043-94EE-661CB4E40ED2}"/>
              </a:ext>
            </a:extLst>
          </p:cNvPr>
          <p:cNvSpPr>
            <a:spLocks noGrp="1"/>
          </p:cNvSpPr>
          <p:nvPr>
            <p:ph type="pic" sz="quarter" idx="27" hasCustomPrompt="1"/>
          </p:nvPr>
        </p:nvSpPr>
        <p:spPr>
          <a:xfrm>
            <a:off x="4062560" y="0"/>
            <a:ext cx="4076277" cy="6858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5" name="Picture Placeholder 24">
            <a:extLst>
              <a:ext uri="{FF2B5EF4-FFF2-40B4-BE49-F238E27FC236}">
                <a16:creationId xmlns:a16="http://schemas.microsoft.com/office/drawing/2014/main" id="{7FFAF88D-4CA3-474F-A41C-BB68F020FECF}"/>
              </a:ext>
            </a:extLst>
          </p:cNvPr>
          <p:cNvSpPr>
            <a:spLocks noGrp="1"/>
          </p:cNvSpPr>
          <p:nvPr>
            <p:ph type="pic" sz="quarter" idx="13" hasCustomPrompt="1"/>
          </p:nvPr>
        </p:nvSpPr>
        <p:spPr>
          <a:xfrm>
            <a:off x="5" y="5"/>
            <a:ext cx="4072023" cy="6857997"/>
          </a:xfrm>
          <a:custGeom>
            <a:avLst/>
            <a:gdLst>
              <a:gd name="connsiteX0" fmla="*/ 1146049 w 4072023"/>
              <a:gd name="connsiteY0" fmla="*/ 6470534 h 6857997"/>
              <a:gd name="connsiteX1" fmla="*/ 1157832 w 4072023"/>
              <a:gd name="connsiteY1" fmla="*/ 6505507 h 6857997"/>
              <a:gd name="connsiteX2" fmla="*/ 1134642 w 4072023"/>
              <a:gd name="connsiteY2" fmla="*/ 6505507 h 6857997"/>
              <a:gd name="connsiteX3" fmla="*/ 788170 w 4072023"/>
              <a:gd name="connsiteY3" fmla="*/ 6470534 h 6857997"/>
              <a:gd name="connsiteX4" fmla="*/ 799953 w 4072023"/>
              <a:gd name="connsiteY4" fmla="*/ 6505507 h 6857997"/>
              <a:gd name="connsiteX5" fmla="*/ 776763 w 4072023"/>
              <a:gd name="connsiteY5" fmla="*/ 6505507 h 6857997"/>
              <a:gd name="connsiteX6" fmla="*/ 1132323 w 4072023"/>
              <a:gd name="connsiteY6" fmla="*/ 6451543 h 6857997"/>
              <a:gd name="connsiteX7" fmla="*/ 1100860 w 4072023"/>
              <a:gd name="connsiteY7" fmla="*/ 6542674 h 6857997"/>
              <a:gd name="connsiteX8" fmla="*/ 1123110 w 4072023"/>
              <a:gd name="connsiteY8" fmla="*/ 6542674 h 6857997"/>
              <a:gd name="connsiteX9" fmla="*/ 1128876 w 4072023"/>
              <a:gd name="connsiteY9" fmla="*/ 6524060 h 6857997"/>
              <a:gd name="connsiteX10" fmla="*/ 1163786 w 4072023"/>
              <a:gd name="connsiteY10" fmla="*/ 6524060 h 6857997"/>
              <a:gd name="connsiteX11" fmla="*/ 1169741 w 4072023"/>
              <a:gd name="connsiteY11" fmla="*/ 6542674 h 6857997"/>
              <a:gd name="connsiteX12" fmla="*/ 1191615 w 4072023"/>
              <a:gd name="connsiteY12" fmla="*/ 6542674 h 6857997"/>
              <a:gd name="connsiteX13" fmla="*/ 1159148 w 4072023"/>
              <a:gd name="connsiteY13" fmla="*/ 6451543 h 6857997"/>
              <a:gd name="connsiteX14" fmla="*/ 961907 w 4072023"/>
              <a:gd name="connsiteY14" fmla="*/ 6451543 h 6857997"/>
              <a:gd name="connsiteX15" fmla="*/ 933640 w 4072023"/>
              <a:gd name="connsiteY15" fmla="*/ 6479246 h 6857997"/>
              <a:gd name="connsiteX16" fmla="*/ 961907 w 4072023"/>
              <a:gd name="connsiteY16" fmla="*/ 6505821 h 6857997"/>
              <a:gd name="connsiteX17" fmla="*/ 983468 w 4072023"/>
              <a:gd name="connsiteY17" fmla="*/ 6505821 h 6857997"/>
              <a:gd name="connsiteX18" fmla="*/ 991678 w 4072023"/>
              <a:gd name="connsiteY18" fmla="*/ 6514282 h 6857997"/>
              <a:gd name="connsiteX19" fmla="*/ 983468 w 4072023"/>
              <a:gd name="connsiteY19" fmla="*/ 6522743 h 6857997"/>
              <a:gd name="connsiteX20" fmla="*/ 937338 w 4072023"/>
              <a:gd name="connsiteY20" fmla="*/ 6522743 h 6857997"/>
              <a:gd name="connsiteX21" fmla="*/ 937338 w 4072023"/>
              <a:gd name="connsiteY21" fmla="*/ 6542674 h 6857997"/>
              <a:gd name="connsiteX22" fmla="*/ 982716 w 4072023"/>
              <a:gd name="connsiteY22" fmla="*/ 6542674 h 6857997"/>
              <a:gd name="connsiteX23" fmla="*/ 1011358 w 4072023"/>
              <a:gd name="connsiteY23" fmla="*/ 6514282 h 6857997"/>
              <a:gd name="connsiteX24" fmla="*/ 986727 w 4072023"/>
              <a:gd name="connsiteY24" fmla="*/ 6487707 h 6857997"/>
              <a:gd name="connsiteX25" fmla="*/ 961907 w 4072023"/>
              <a:gd name="connsiteY25" fmla="*/ 6487707 h 6857997"/>
              <a:gd name="connsiteX26" fmla="*/ 953321 w 4072023"/>
              <a:gd name="connsiteY26" fmla="*/ 6479246 h 6857997"/>
              <a:gd name="connsiteX27" fmla="*/ 961907 w 4072023"/>
              <a:gd name="connsiteY27" fmla="*/ 6470785 h 6857997"/>
              <a:gd name="connsiteX28" fmla="*/ 1004965 w 4072023"/>
              <a:gd name="connsiteY28" fmla="*/ 6470785 h 6857997"/>
              <a:gd name="connsiteX29" fmla="*/ 1004965 w 4072023"/>
              <a:gd name="connsiteY29" fmla="*/ 6451543 h 6857997"/>
              <a:gd name="connsiteX30" fmla="*/ 841570 w 4072023"/>
              <a:gd name="connsiteY30" fmla="*/ 6451543 h 6857997"/>
              <a:gd name="connsiteX31" fmla="*/ 841570 w 4072023"/>
              <a:gd name="connsiteY31" fmla="*/ 6542674 h 6857997"/>
              <a:gd name="connsiteX32" fmla="*/ 862692 w 4072023"/>
              <a:gd name="connsiteY32" fmla="*/ 6542674 h 6857997"/>
              <a:gd name="connsiteX33" fmla="*/ 862692 w 4072023"/>
              <a:gd name="connsiteY33" fmla="*/ 6486454 h 6857997"/>
              <a:gd name="connsiteX34" fmla="*/ 898981 w 4072023"/>
              <a:gd name="connsiteY34" fmla="*/ 6542486 h 6857997"/>
              <a:gd name="connsiteX35" fmla="*/ 898981 w 4072023"/>
              <a:gd name="connsiteY35" fmla="*/ 6542674 h 6857997"/>
              <a:gd name="connsiteX36" fmla="*/ 920855 w 4072023"/>
              <a:gd name="connsiteY36" fmla="*/ 6542674 h 6857997"/>
              <a:gd name="connsiteX37" fmla="*/ 920793 w 4072023"/>
              <a:gd name="connsiteY37" fmla="*/ 6522994 h 6857997"/>
              <a:gd name="connsiteX38" fmla="*/ 920667 w 4072023"/>
              <a:gd name="connsiteY38" fmla="*/ 6451543 h 6857997"/>
              <a:gd name="connsiteX39" fmla="*/ 899671 w 4072023"/>
              <a:gd name="connsiteY39" fmla="*/ 6451543 h 6857997"/>
              <a:gd name="connsiteX40" fmla="*/ 899671 w 4072023"/>
              <a:gd name="connsiteY40" fmla="*/ 6508829 h 6857997"/>
              <a:gd name="connsiteX41" fmla="*/ 863068 w 4072023"/>
              <a:gd name="connsiteY41" fmla="*/ 6451543 h 6857997"/>
              <a:gd name="connsiteX42" fmla="*/ 774444 w 4072023"/>
              <a:gd name="connsiteY42" fmla="*/ 6451543 h 6857997"/>
              <a:gd name="connsiteX43" fmla="*/ 742918 w 4072023"/>
              <a:gd name="connsiteY43" fmla="*/ 6542674 h 6857997"/>
              <a:gd name="connsiteX44" fmla="*/ 765168 w 4072023"/>
              <a:gd name="connsiteY44" fmla="*/ 6542674 h 6857997"/>
              <a:gd name="connsiteX45" fmla="*/ 770934 w 4072023"/>
              <a:gd name="connsiteY45" fmla="*/ 6524060 h 6857997"/>
              <a:gd name="connsiteX46" fmla="*/ 805845 w 4072023"/>
              <a:gd name="connsiteY46" fmla="*/ 6524060 h 6857997"/>
              <a:gd name="connsiteX47" fmla="*/ 811799 w 4072023"/>
              <a:gd name="connsiteY47" fmla="*/ 6542674 h 6857997"/>
              <a:gd name="connsiteX48" fmla="*/ 833735 w 4072023"/>
              <a:gd name="connsiteY48" fmla="*/ 6542674 h 6857997"/>
              <a:gd name="connsiteX49" fmla="*/ 801269 w 4072023"/>
              <a:gd name="connsiteY49" fmla="*/ 6451543 h 6857997"/>
              <a:gd name="connsiteX50" fmla="*/ 604404 w 4072023"/>
              <a:gd name="connsiteY50" fmla="*/ 6451543 h 6857997"/>
              <a:gd name="connsiteX51" fmla="*/ 576137 w 4072023"/>
              <a:gd name="connsiteY51" fmla="*/ 6479246 h 6857997"/>
              <a:gd name="connsiteX52" fmla="*/ 604404 w 4072023"/>
              <a:gd name="connsiteY52" fmla="*/ 6505821 h 6857997"/>
              <a:gd name="connsiteX53" fmla="*/ 625964 w 4072023"/>
              <a:gd name="connsiteY53" fmla="*/ 6505821 h 6857997"/>
              <a:gd name="connsiteX54" fmla="*/ 634174 w 4072023"/>
              <a:gd name="connsiteY54" fmla="*/ 6514282 h 6857997"/>
              <a:gd name="connsiteX55" fmla="*/ 625964 w 4072023"/>
              <a:gd name="connsiteY55" fmla="*/ 6522743 h 6857997"/>
              <a:gd name="connsiteX56" fmla="*/ 579772 w 4072023"/>
              <a:gd name="connsiteY56" fmla="*/ 6522743 h 6857997"/>
              <a:gd name="connsiteX57" fmla="*/ 579772 w 4072023"/>
              <a:gd name="connsiteY57" fmla="*/ 6542674 h 6857997"/>
              <a:gd name="connsiteX58" fmla="*/ 625149 w 4072023"/>
              <a:gd name="connsiteY58" fmla="*/ 6542674 h 6857997"/>
              <a:gd name="connsiteX59" fmla="*/ 653792 w 4072023"/>
              <a:gd name="connsiteY59" fmla="*/ 6514282 h 6857997"/>
              <a:gd name="connsiteX60" fmla="*/ 629223 w 4072023"/>
              <a:gd name="connsiteY60" fmla="*/ 6487707 h 6857997"/>
              <a:gd name="connsiteX61" fmla="*/ 604404 w 4072023"/>
              <a:gd name="connsiteY61" fmla="*/ 6487707 h 6857997"/>
              <a:gd name="connsiteX62" fmla="*/ 595817 w 4072023"/>
              <a:gd name="connsiteY62" fmla="*/ 6479246 h 6857997"/>
              <a:gd name="connsiteX63" fmla="*/ 604404 w 4072023"/>
              <a:gd name="connsiteY63" fmla="*/ 6470785 h 6857997"/>
              <a:gd name="connsiteX64" fmla="*/ 647462 w 4072023"/>
              <a:gd name="connsiteY64" fmla="*/ 6470785 h 6857997"/>
              <a:gd name="connsiteX65" fmla="*/ 647462 w 4072023"/>
              <a:gd name="connsiteY65" fmla="*/ 6451543 h 6857997"/>
              <a:gd name="connsiteX66" fmla="*/ 1023956 w 4072023"/>
              <a:gd name="connsiteY66" fmla="*/ 6451480 h 6857997"/>
              <a:gd name="connsiteX67" fmla="*/ 1023956 w 4072023"/>
              <a:gd name="connsiteY67" fmla="*/ 6542674 h 6857997"/>
              <a:gd name="connsiteX68" fmla="*/ 1045016 w 4072023"/>
              <a:gd name="connsiteY68" fmla="*/ 6542674 h 6857997"/>
              <a:gd name="connsiteX69" fmla="*/ 1045016 w 4072023"/>
              <a:gd name="connsiteY69" fmla="*/ 6504191 h 6857997"/>
              <a:gd name="connsiteX70" fmla="*/ 1074975 w 4072023"/>
              <a:gd name="connsiteY70" fmla="*/ 6542674 h 6857997"/>
              <a:gd name="connsiteX71" fmla="*/ 1099481 w 4072023"/>
              <a:gd name="connsiteY71" fmla="*/ 6542674 h 6857997"/>
              <a:gd name="connsiteX72" fmla="*/ 1065009 w 4072023"/>
              <a:gd name="connsiteY72" fmla="*/ 6497109 h 6857997"/>
              <a:gd name="connsiteX73" fmla="*/ 1099481 w 4072023"/>
              <a:gd name="connsiteY73" fmla="*/ 6451480 h 6857997"/>
              <a:gd name="connsiteX74" fmla="*/ 1074975 w 4072023"/>
              <a:gd name="connsiteY74" fmla="*/ 6451480 h 6857997"/>
              <a:gd name="connsiteX75" fmla="*/ 1045016 w 4072023"/>
              <a:gd name="connsiteY75" fmla="*/ 6489963 h 6857997"/>
              <a:gd name="connsiteX76" fmla="*/ 1045016 w 4072023"/>
              <a:gd name="connsiteY76" fmla="*/ 6451480 h 6857997"/>
              <a:gd name="connsiteX77" fmla="*/ 666077 w 4072023"/>
              <a:gd name="connsiteY77" fmla="*/ 6451480 h 6857997"/>
              <a:gd name="connsiteX78" fmla="*/ 666077 w 4072023"/>
              <a:gd name="connsiteY78" fmla="*/ 6542674 h 6857997"/>
              <a:gd name="connsiteX79" fmla="*/ 687073 w 4072023"/>
              <a:gd name="connsiteY79" fmla="*/ 6542674 h 6857997"/>
              <a:gd name="connsiteX80" fmla="*/ 687073 w 4072023"/>
              <a:gd name="connsiteY80" fmla="*/ 6504191 h 6857997"/>
              <a:gd name="connsiteX81" fmla="*/ 717033 w 4072023"/>
              <a:gd name="connsiteY81" fmla="*/ 6542674 h 6857997"/>
              <a:gd name="connsiteX82" fmla="*/ 741602 w 4072023"/>
              <a:gd name="connsiteY82" fmla="*/ 6542674 h 6857997"/>
              <a:gd name="connsiteX83" fmla="*/ 707067 w 4072023"/>
              <a:gd name="connsiteY83" fmla="*/ 6497109 h 6857997"/>
              <a:gd name="connsiteX84" fmla="*/ 741602 w 4072023"/>
              <a:gd name="connsiteY84" fmla="*/ 6451480 h 6857997"/>
              <a:gd name="connsiteX85" fmla="*/ 717033 w 4072023"/>
              <a:gd name="connsiteY85" fmla="*/ 6451480 h 6857997"/>
              <a:gd name="connsiteX86" fmla="*/ 687073 w 4072023"/>
              <a:gd name="connsiteY86" fmla="*/ 6489963 h 6857997"/>
              <a:gd name="connsiteX87" fmla="*/ 687073 w 4072023"/>
              <a:gd name="connsiteY87" fmla="*/ 6451480 h 6857997"/>
              <a:gd name="connsiteX88" fmla="*/ 0 w 4072023"/>
              <a:gd name="connsiteY88" fmla="*/ 0 h 6857997"/>
              <a:gd name="connsiteX89" fmla="*/ 4072023 w 4072023"/>
              <a:gd name="connsiteY89" fmla="*/ 0 h 6857997"/>
              <a:gd name="connsiteX90" fmla="*/ 4072023 w 4072023"/>
              <a:gd name="connsiteY90" fmla="*/ 6857997 h 6857997"/>
              <a:gd name="connsiteX91" fmla="*/ 0 w 4072023"/>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072023"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4072023" y="0"/>
                </a:lnTo>
                <a:lnTo>
                  <a:pt x="4072023"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8" name="Picture Placeholder 17">
            <a:extLst>
              <a:ext uri="{FF2B5EF4-FFF2-40B4-BE49-F238E27FC236}">
                <a16:creationId xmlns:a16="http://schemas.microsoft.com/office/drawing/2014/main" id="{1D8C10B2-C5B9-8C42-AAE6-7022794E8D33}"/>
              </a:ext>
            </a:extLst>
          </p:cNvPr>
          <p:cNvSpPr>
            <a:spLocks noGrp="1"/>
          </p:cNvSpPr>
          <p:nvPr>
            <p:ph type="pic" sz="quarter" idx="18" hasCustomPrompt="1"/>
          </p:nvPr>
        </p:nvSpPr>
        <p:spPr>
          <a:xfrm>
            <a:off x="8127999" y="0"/>
            <a:ext cx="4076277" cy="6858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6" name="Text Placeholder 18">
            <a:extLst>
              <a:ext uri="{FF2B5EF4-FFF2-40B4-BE49-F238E27FC236}">
                <a16:creationId xmlns:a16="http://schemas.microsoft.com/office/drawing/2014/main" id="{CAD788D9-156D-3B46-B27B-0C6E941B8270}"/>
              </a:ext>
            </a:extLst>
          </p:cNvPr>
          <p:cNvSpPr>
            <a:spLocks noGrp="1"/>
          </p:cNvSpPr>
          <p:nvPr>
            <p:ph type="body" sz="quarter" idx="21" hasCustomPrompt="1"/>
          </p:nvPr>
        </p:nvSpPr>
        <p:spPr>
          <a:xfrm>
            <a:off x="8146861" y="2600435"/>
            <a:ext cx="4057415"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9" name="Text Placeholder 18">
            <a:extLst>
              <a:ext uri="{FF2B5EF4-FFF2-40B4-BE49-F238E27FC236}">
                <a16:creationId xmlns:a16="http://schemas.microsoft.com/office/drawing/2014/main" id="{9E751731-59C5-B049-9487-248BD0C40892}"/>
              </a:ext>
            </a:extLst>
          </p:cNvPr>
          <p:cNvSpPr>
            <a:spLocks noGrp="1"/>
          </p:cNvSpPr>
          <p:nvPr>
            <p:ph type="body" sz="quarter" idx="26" hasCustomPrompt="1"/>
          </p:nvPr>
        </p:nvSpPr>
        <p:spPr>
          <a:xfrm>
            <a:off x="-8834" y="2600435"/>
            <a:ext cx="4076276"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dirty="0"/>
              <a:t>Click to add text</a:t>
            </a:r>
          </a:p>
        </p:txBody>
      </p:sp>
      <p:sp>
        <p:nvSpPr>
          <p:cNvPr id="22" name="Text Placeholder 18">
            <a:extLst>
              <a:ext uri="{FF2B5EF4-FFF2-40B4-BE49-F238E27FC236}">
                <a16:creationId xmlns:a16="http://schemas.microsoft.com/office/drawing/2014/main" id="{2DA0EC46-A30E-6E40-B15A-2A147BD09EBB}"/>
              </a:ext>
            </a:extLst>
          </p:cNvPr>
          <p:cNvSpPr>
            <a:spLocks noGrp="1"/>
          </p:cNvSpPr>
          <p:nvPr>
            <p:ph type="body" sz="quarter" idx="28" hasCustomPrompt="1"/>
          </p:nvPr>
        </p:nvSpPr>
        <p:spPr>
          <a:xfrm>
            <a:off x="4072836" y="2600435"/>
            <a:ext cx="4047138"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1" name="textruta 5">
            <a:extLst>
              <a:ext uri="{FF2B5EF4-FFF2-40B4-BE49-F238E27FC236}">
                <a16:creationId xmlns:a16="http://schemas.microsoft.com/office/drawing/2014/main" id="{11454871-6E41-9045-84A7-31FC43D47801}"/>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2" name="textruta 11">
            <a:extLst>
              <a:ext uri="{FF2B5EF4-FFF2-40B4-BE49-F238E27FC236}">
                <a16:creationId xmlns:a16="http://schemas.microsoft.com/office/drawing/2014/main" id="{8E1720B2-EFAF-B84F-B64E-421B9C701D7D}"/>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3" name="Rektangel 12">
            <a:extLst>
              <a:ext uri="{FF2B5EF4-FFF2-40B4-BE49-F238E27FC236}">
                <a16:creationId xmlns:a16="http://schemas.microsoft.com/office/drawing/2014/main" id="{5A2B0DFE-5964-6446-982D-1886963B932D}"/>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ktangel 13">
            <a:extLst>
              <a:ext uri="{FF2B5EF4-FFF2-40B4-BE49-F238E27FC236}">
                <a16:creationId xmlns:a16="http://schemas.microsoft.com/office/drawing/2014/main" id="{D05655AB-CE15-6D47-8CB8-6546336F9E0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Platshållare för datum 3">
            <a:extLst>
              <a:ext uri="{FF2B5EF4-FFF2-40B4-BE49-F238E27FC236}">
                <a16:creationId xmlns:a16="http://schemas.microsoft.com/office/drawing/2014/main" id="{5F82BC1C-B4A5-2943-B1F7-2C1E6F11224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E15E0357-A14F-408E-BC03-570D34700675}" type="datetime1">
              <a:rPr lang="en-US" smtClean="0"/>
              <a:t>11/1/2023</a:t>
            </a:fld>
            <a:endParaRPr lang="en-US"/>
          </a:p>
        </p:txBody>
      </p:sp>
      <p:sp>
        <p:nvSpPr>
          <p:cNvPr id="17" name="Platshållare för sidfot 4">
            <a:extLst>
              <a:ext uri="{FF2B5EF4-FFF2-40B4-BE49-F238E27FC236}">
                <a16:creationId xmlns:a16="http://schemas.microsoft.com/office/drawing/2014/main" id="{34176E80-8CD3-D446-B2F2-66C3A2315ACE}"/>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0" name="Platshållare för bildnummer 5">
            <a:extLst>
              <a:ext uri="{FF2B5EF4-FFF2-40B4-BE49-F238E27FC236}">
                <a16:creationId xmlns:a16="http://schemas.microsoft.com/office/drawing/2014/main" id="{0452F84B-9D3A-DF46-B5DC-59D2BAE7C253}"/>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3" name="Text Placeholder 4">
            <a:extLst>
              <a:ext uri="{FF2B5EF4-FFF2-40B4-BE49-F238E27FC236}">
                <a16:creationId xmlns:a16="http://schemas.microsoft.com/office/drawing/2014/main" id="{DFEC13B5-DF4A-1E41-ADC4-C58B38BA57F6}"/>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4" name="Text Placeholder 4">
            <a:extLst>
              <a:ext uri="{FF2B5EF4-FFF2-40B4-BE49-F238E27FC236}">
                <a16:creationId xmlns:a16="http://schemas.microsoft.com/office/drawing/2014/main" id="{E2CCC3D8-EC70-8647-821E-C44326AA93C7}"/>
              </a:ext>
            </a:extLst>
          </p:cNvPr>
          <p:cNvSpPr>
            <a:spLocks noGrp="1"/>
          </p:cNvSpPr>
          <p:nvPr>
            <p:ph type="body" sz="quarter" idx="29" hasCustomPrompt="1"/>
          </p:nvPr>
        </p:nvSpPr>
        <p:spPr>
          <a:xfrm rot="5400000">
            <a:off x="6848567" y="803645"/>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B3AFB980-8481-1048-B1F9-E5F80CF85165}"/>
              </a:ext>
            </a:extLst>
          </p:cNvPr>
          <p:cNvSpPr>
            <a:spLocks noGrp="1"/>
          </p:cNvSpPr>
          <p:nvPr>
            <p:ph type="body" sz="quarter" idx="30" hasCustomPrompt="1"/>
          </p:nvPr>
        </p:nvSpPr>
        <p:spPr>
          <a:xfrm rot="5400000">
            <a:off x="2781758" y="803645"/>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779890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Title Start Image">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5EEAE91-E57E-6747-89AA-18B1431204B2}"/>
              </a:ext>
            </a:extLst>
          </p:cNvPr>
          <p:cNvSpPr>
            <a:spLocks noGrp="1"/>
          </p:cNvSpPr>
          <p:nvPr>
            <p:ph type="pic" sz="quarter" idx="13" hasCustomPrompt="1"/>
          </p:nvPr>
        </p:nvSpPr>
        <p:spPr>
          <a:xfrm>
            <a:off x="3" y="3"/>
            <a:ext cx="12191998" cy="6857998"/>
          </a:xfrm>
          <a:custGeom>
            <a:avLst/>
            <a:gdLst>
              <a:gd name="connsiteX0" fmla="*/ 936965 w 12191998"/>
              <a:gd name="connsiteY0" fmla="*/ 389410 h 6857998"/>
              <a:gd name="connsiteX1" fmla="*/ 957275 w 12191998"/>
              <a:gd name="connsiteY1" fmla="*/ 449691 h 6857998"/>
              <a:gd name="connsiteX2" fmla="*/ 917304 w 12191998"/>
              <a:gd name="connsiteY2" fmla="*/ 449691 h 6857998"/>
              <a:gd name="connsiteX3" fmla="*/ 1553818 w 12191998"/>
              <a:gd name="connsiteY3" fmla="*/ 389410 h 6857998"/>
              <a:gd name="connsiteX4" fmla="*/ 1574127 w 12191998"/>
              <a:gd name="connsiteY4" fmla="*/ 449690 h 6857998"/>
              <a:gd name="connsiteX5" fmla="*/ 1534156 w 12191998"/>
              <a:gd name="connsiteY5" fmla="*/ 449690 h 6857998"/>
              <a:gd name="connsiteX6" fmla="*/ 1029007 w 12191998"/>
              <a:gd name="connsiteY6" fmla="*/ 356677 h 6857998"/>
              <a:gd name="connsiteX7" fmla="*/ 1029007 w 12191998"/>
              <a:gd name="connsiteY7" fmla="*/ 513753 h 6857998"/>
              <a:gd name="connsiteX8" fmla="*/ 1065413 w 12191998"/>
              <a:gd name="connsiteY8" fmla="*/ 513753 h 6857998"/>
              <a:gd name="connsiteX9" fmla="*/ 1065413 w 12191998"/>
              <a:gd name="connsiteY9" fmla="*/ 416850 h 6857998"/>
              <a:gd name="connsiteX10" fmla="*/ 1127963 w 12191998"/>
              <a:gd name="connsiteY10" fmla="*/ 513429 h 6857998"/>
              <a:gd name="connsiteX11" fmla="*/ 1127963 w 12191998"/>
              <a:gd name="connsiteY11" fmla="*/ 513753 h 6857998"/>
              <a:gd name="connsiteX12" fmla="*/ 1165665 w 12191998"/>
              <a:gd name="connsiteY12" fmla="*/ 513753 h 6857998"/>
              <a:gd name="connsiteX13" fmla="*/ 1165557 w 12191998"/>
              <a:gd name="connsiteY13" fmla="*/ 479831 h 6857998"/>
              <a:gd name="connsiteX14" fmla="*/ 1165341 w 12191998"/>
              <a:gd name="connsiteY14" fmla="*/ 356677 h 6857998"/>
              <a:gd name="connsiteX15" fmla="*/ 1129151 w 12191998"/>
              <a:gd name="connsiteY15" fmla="*/ 356677 h 6857998"/>
              <a:gd name="connsiteX16" fmla="*/ 1129151 w 12191998"/>
              <a:gd name="connsiteY16" fmla="*/ 455416 h 6857998"/>
              <a:gd name="connsiteX17" fmla="*/ 1066062 w 12191998"/>
              <a:gd name="connsiteY17" fmla="*/ 356677 h 6857998"/>
              <a:gd name="connsiteX18" fmla="*/ 913306 w 12191998"/>
              <a:gd name="connsiteY18" fmla="*/ 356677 h 6857998"/>
              <a:gd name="connsiteX19" fmla="*/ 858967 w 12191998"/>
              <a:gd name="connsiteY19" fmla="*/ 513753 h 6857998"/>
              <a:gd name="connsiteX20" fmla="*/ 897318 w 12191998"/>
              <a:gd name="connsiteY20" fmla="*/ 513753 h 6857998"/>
              <a:gd name="connsiteX21" fmla="*/ 907257 w 12191998"/>
              <a:gd name="connsiteY21" fmla="*/ 481668 h 6857998"/>
              <a:gd name="connsiteX22" fmla="*/ 967430 w 12191998"/>
              <a:gd name="connsiteY22" fmla="*/ 481668 h 6857998"/>
              <a:gd name="connsiteX23" fmla="*/ 977693 w 12191998"/>
              <a:gd name="connsiteY23" fmla="*/ 513753 h 6857998"/>
              <a:gd name="connsiteX24" fmla="*/ 1015503 w 12191998"/>
              <a:gd name="connsiteY24" fmla="*/ 513753 h 6857998"/>
              <a:gd name="connsiteX25" fmla="*/ 959543 w 12191998"/>
              <a:gd name="connsiteY25" fmla="*/ 356677 h 6857998"/>
              <a:gd name="connsiteX26" fmla="*/ 620219 w 12191998"/>
              <a:gd name="connsiteY26" fmla="*/ 356677 h 6857998"/>
              <a:gd name="connsiteX27" fmla="*/ 571498 w 12191998"/>
              <a:gd name="connsiteY27" fmla="*/ 404426 h 6857998"/>
              <a:gd name="connsiteX28" fmla="*/ 620219 w 12191998"/>
              <a:gd name="connsiteY28" fmla="*/ 450231 h 6857998"/>
              <a:gd name="connsiteX29" fmla="*/ 657382 w 12191998"/>
              <a:gd name="connsiteY29" fmla="*/ 450231 h 6857998"/>
              <a:gd name="connsiteX30" fmla="*/ 671534 w 12191998"/>
              <a:gd name="connsiteY30" fmla="*/ 464815 h 6857998"/>
              <a:gd name="connsiteX31" fmla="*/ 657382 w 12191998"/>
              <a:gd name="connsiteY31" fmla="*/ 479399 h 6857998"/>
              <a:gd name="connsiteX32" fmla="*/ 577764 w 12191998"/>
              <a:gd name="connsiteY32" fmla="*/ 479399 h 6857998"/>
              <a:gd name="connsiteX33" fmla="*/ 577764 w 12191998"/>
              <a:gd name="connsiteY33" fmla="*/ 513753 h 6857998"/>
              <a:gd name="connsiteX34" fmla="*/ 655977 w 12191998"/>
              <a:gd name="connsiteY34" fmla="*/ 513753 h 6857998"/>
              <a:gd name="connsiteX35" fmla="*/ 705347 w 12191998"/>
              <a:gd name="connsiteY35" fmla="*/ 464815 h 6857998"/>
              <a:gd name="connsiteX36" fmla="*/ 662999 w 12191998"/>
              <a:gd name="connsiteY36" fmla="*/ 419010 h 6857998"/>
              <a:gd name="connsiteX37" fmla="*/ 620219 w 12191998"/>
              <a:gd name="connsiteY37" fmla="*/ 419010 h 6857998"/>
              <a:gd name="connsiteX38" fmla="*/ 605419 w 12191998"/>
              <a:gd name="connsiteY38" fmla="*/ 404426 h 6857998"/>
              <a:gd name="connsiteX39" fmla="*/ 620219 w 12191998"/>
              <a:gd name="connsiteY39" fmla="*/ 389842 h 6857998"/>
              <a:gd name="connsiteX40" fmla="*/ 694436 w 12191998"/>
              <a:gd name="connsiteY40" fmla="*/ 389842 h 6857998"/>
              <a:gd name="connsiteX41" fmla="*/ 694436 w 12191998"/>
              <a:gd name="connsiteY41" fmla="*/ 356677 h 6857998"/>
              <a:gd name="connsiteX42" fmla="*/ 1530159 w 12191998"/>
              <a:gd name="connsiteY42" fmla="*/ 356676 h 6857998"/>
              <a:gd name="connsiteX43" fmla="*/ 1475928 w 12191998"/>
              <a:gd name="connsiteY43" fmla="*/ 513752 h 6857998"/>
              <a:gd name="connsiteX44" fmla="*/ 1514278 w 12191998"/>
              <a:gd name="connsiteY44" fmla="*/ 513752 h 6857998"/>
              <a:gd name="connsiteX45" fmla="*/ 1524217 w 12191998"/>
              <a:gd name="connsiteY45" fmla="*/ 481668 h 6857998"/>
              <a:gd name="connsiteX46" fmla="*/ 1584390 w 12191998"/>
              <a:gd name="connsiteY46" fmla="*/ 481668 h 6857998"/>
              <a:gd name="connsiteX47" fmla="*/ 1594653 w 12191998"/>
              <a:gd name="connsiteY47" fmla="*/ 513752 h 6857998"/>
              <a:gd name="connsiteX48" fmla="*/ 1632356 w 12191998"/>
              <a:gd name="connsiteY48" fmla="*/ 513752 h 6857998"/>
              <a:gd name="connsiteX49" fmla="*/ 1576396 w 12191998"/>
              <a:gd name="connsiteY49" fmla="*/ 356676 h 6857998"/>
              <a:gd name="connsiteX50" fmla="*/ 1236424 w 12191998"/>
              <a:gd name="connsiteY50" fmla="*/ 356676 h 6857998"/>
              <a:gd name="connsiteX51" fmla="*/ 1187702 w 12191998"/>
              <a:gd name="connsiteY51" fmla="*/ 404426 h 6857998"/>
              <a:gd name="connsiteX52" fmla="*/ 1236424 w 12191998"/>
              <a:gd name="connsiteY52" fmla="*/ 450231 h 6857998"/>
              <a:gd name="connsiteX53" fmla="*/ 1273587 w 12191998"/>
              <a:gd name="connsiteY53" fmla="*/ 450231 h 6857998"/>
              <a:gd name="connsiteX54" fmla="*/ 1287739 w 12191998"/>
              <a:gd name="connsiteY54" fmla="*/ 464815 h 6857998"/>
              <a:gd name="connsiteX55" fmla="*/ 1273587 w 12191998"/>
              <a:gd name="connsiteY55" fmla="*/ 479399 h 6857998"/>
              <a:gd name="connsiteX56" fmla="*/ 1194076 w 12191998"/>
              <a:gd name="connsiteY56" fmla="*/ 479399 h 6857998"/>
              <a:gd name="connsiteX57" fmla="*/ 1194076 w 12191998"/>
              <a:gd name="connsiteY57" fmla="*/ 513752 h 6857998"/>
              <a:gd name="connsiteX58" fmla="*/ 1272290 w 12191998"/>
              <a:gd name="connsiteY58" fmla="*/ 513752 h 6857998"/>
              <a:gd name="connsiteX59" fmla="*/ 1321660 w 12191998"/>
              <a:gd name="connsiteY59" fmla="*/ 464815 h 6857998"/>
              <a:gd name="connsiteX60" fmla="*/ 1279204 w 12191998"/>
              <a:gd name="connsiteY60" fmla="*/ 419010 h 6857998"/>
              <a:gd name="connsiteX61" fmla="*/ 1236424 w 12191998"/>
              <a:gd name="connsiteY61" fmla="*/ 419010 h 6857998"/>
              <a:gd name="connsiteX62" fmla="*/ 1221624 w 12191998"/>
              <a:gd name="connsiteY62" fmla="*/ 404426 h 6857998"/>
              <a:gd name="connsiteX63" fmla="*/ 1236424 w 12191998"/>
              <a:gd name="connsiteY63" fmla="*/ 389842 h 6857998"/>
              <a:gd name="connsiteX64" fmla="*/ 1310641 w 12191998"/>
              <a:gd name="connsiteY64" fmla="*/ 389842 h 6857998"/>
              <a:gd name="connsiteX65" fmla="*/ 1310641 w 12191998"/>
              <a:gd name="connsiteY65" fmla="*/ 356676 h 6857998"/>
              <a:gd name="connsiteX66" fmla="*/ 726522 w 12191998"/>
              <a:gd name="connsiteY66" fmla="*/ 356568 h 6857998"/>
              <a:gd name="connsiteX67" fmla="*/ 726522 w 12191998"/>
              <a:gd name="connsiteY67" fmla="*/ 513752 h 6857998"/>
              <a:gd name="connsiteX68" fmla="*/ 762712 w 12191998"/>
              <a:gd name="connsiteY68" fmla="*/ 513752 h 6857998"/>
              <a:gd name="connsiteX69" fmla="*/ 762712 w 12191998"/>
              <a:gd name="connsiteY69" fmla="*/ 447422 h 6857998"/>
              <a:gd name="connsiteX70" fmla="*/ 814351 w 12191998"/>
              <a:gd name="connsiteY70" fmla="*/ 513752 h 6857998"/>
              <a:gd name="connsiteX71" fmla="*/ 856699 w 12191998"/>
              <a:gd name="connsiteY71" fmla="*/ 513752 h 6857998"/>
              <a:gd name="connsiteX72" fmla="*/ 797174 w 12191998"/>
              <a:gd name="connsiteY72" fmla="*/ 435214 h 6857998"/>
              <a:gd name="connsiteX73" fmla="*/ 856699 w 12191998"/>
              <a:gd name="connsiteY73" fmla="*/ 356568 h 6857998"/>
              <a:gd name="connsiteX74" fmla="*/ 814351 w 12191998"/>
              <a:gd name="connsiteY74" fmla="*/ 356568 h 6857998"/>
              <a:gd name="connsiteX75" fmla="*/ 762712 w 12191998"/>
              <a:gd name="connsiteY75" fmla="*/ 422899 h 6857998"/>
              <a:gd name="connsiteX76" fmla="*/ 762712 w 12191998"/>
              <a:gd name="connsiteY76" fmla="*/ 356568 h 6857998"/>
              <a:gd name="connsiteX77" fmla="*/ 1343374 w 12191998"/>
              <a:gd name="connsiteY77" fmla="*/ 356568 h 6857998"/>
              <a:gd name="connsiteX78" fmla="*/ 1343374 w 12191998"/>
              <a:gd name="connsiteY78" fmla="*/ 513752 h 6857998"/>
              <a:gd name="connsiteX79" fmla="*/ 1379673 w 12191998"/>
              <a:gd name="connsiteY79" fmla="*/ 513752 h 6857998"/>
              <a:gd name="connsiteX80" fmla="*/ 1379673 w 12191998"/>
              <a:gd name="connsiteY80" fmla="*/ 447422 h 6857998"/>
              <a:gd name="connsiteX81" fmla="*/ 1431311 w 12191998"/>
              <a:gd name="connsiteY81" fmla="*/ 513752 h 6857998"/>
              <a:gd name="connsiteX82" fmla="*/ 1473551 w 12191998"/>
              <a:gd name="connsiteY82" fmla="*/ 513752 h 6857998"/>
              <a:gd name="connsiteX83" fmla="*/ 1414134 w 12191998"/>
              <a:gd name="connsiteY83" fmla="*/ 435214 h 6857998"/>
              <a:gd name="connsiteX84" fmla="*/ 1473551 w 12191998"/>
              <a:gd name="connsiteY84" fmla="*/ 356568 h 6857998"/>
              <a:gd name="connsiteX85" fmla="*/ 1431311 w 12191998"/>
              <a:gd name="connsiteY85" fmla="*/ 356568 h 6857998"/>
              <a:gd name="connsiteX86" fmla="*/ 1379673 w 12191998"/>
              <a:gd name="connsiteY86" fmla="*/ 422899 h 6857998"/>
              <a:gd name="connsiteX87" fmla="*/ 1379673 w 12191998"/>
              <a:gd name="connsiteY87" fmla="*/ 356568 h 6857998"/>
              <a:gd name="connsiteX88" fmla="*/ 0 w 12191998"/>
              <a:gd name="connsiteY88" fmla="*/ 0 h 6857998"/>
              <a:gd name="connsiteX89" fmla="*/ 12191998 w 12191998"/>
              <a:gd name="connsiteY89" fmla="*/ 0 h 6857998"/>
              <a:gd name="connsiteX90" fmla="*/ 12191998 w 12191998"/>
              <a:gd name="connsiteY90" fmla="*/ 6857998 h 6857998"/>
              <a:gd name="connsiteX91" fmla="*/ 0 w 12191998"/>
              <a:gd name="connsiteY91"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8" h="6857998">
                <a:moveTo>
                  <a:pt x="936965" y="389410"/>
                </a:moveTo>
                <a:lnTo>
                  <a:pt x="957275" y="449691"/>
                </a:lnTo>
                <a:lnTo>
                  <a:pt x="917304" y="449691"/>
                </a:lnTo>
                <a:close/>
                <a:moveTo>
                  <a:pt x="1553818" y="389410"/>
                </a:moveTo>
                <a:lnTo>
                  <a:pt x="1574127" y="449690"/>
                </a:lnTo>
                <a:lnTo>
                  <a:pt x="1534156" y="449690"/>
                </a:lnTo>
                <a:close/>
                <a:moveTo>
                  <a:pt x="1029007" y="356677"/>
                </a:moveTo>
                <a:lnTo>
                  <a:pt x="1029007" y="513753"/>
                </a:lnTo>
                <a:lnTo>
                  <a:pt x="1065413" y="513753"/>
                </a:lnTo>
                <a:lnTo>
                  <a:pt x="1065413" y="416850"/>
                </a:lnTo>
                <a:lnTo>
                  <a:pt x="1127963" y="513429"/>
                </a:lnTo>
                <a:lnTo>
                  <a:pt x="1127963" y="513753"/>
                </a:lnTo>
                <a:lnTo>
                  <a:pt x="1165665" y="513753"/>
                </a:lnTo>
                <a:lnTo>
                  <a:pt x="1165557" y="479831"/>
                </a:lnTo>
                <a:lnTo>
                  <a:pt x="1165341" y="356677"/>
                </a:lnTo>
                <a:lnTo>
                  <a:pt x="1129151" y="356677"/>
                </a:lnTo>
                <a:lnTo>
                  <a:pt x="1129151" y="455416"/>
                </a:lnTo>
                <a:lnTo>
                  <a:pt x="1066062" y="356677"/>
                </a:lnTo>
                <a:close/>
                <a:moveTo>
                  <a:pt x="913306" y="356677"/>
                </a:moveTo>
                <a:lnTo>
                  <a:pt x="858967" y="513753"/>
                </a:lnTo>
                <a:lnTo>
                  <a:pt x="897318" y="513753"/>
                </a:lnTo>
                <a:lnTo>
                  <a:pt x="907257" y="481668"/>
                </a:lnTo>
                <a:lnTo>
                  <a:pt x="967430" y="481668"/>
                </a:lnTo>
                <a:lnTo>
                  <a:pt x="977693" y="513753"/>
                </a:lnTo>
                <a:lnTo>
                  <a:pt x="1015503" y="513753"/>
                </a:lnTo>
                <a:lnTo>
                  <a:pt x="959543" y="356677"/>
                </a:lnTo>
                <a:close/>
                <a:moveTo>
                  <a:pt x="620219" y="356677"/>
                </a:moveTo>
                <a:cubicBezTo>
                  <a:pt x="589863" y="356677"/>
                  <a:pt x="571498" y="374393"/>
                  <a:pt x="571498" y="404426"/>
                </a:cubicBezTo>
                <a:cubicBezTo>
                  <a:pt x="571498" y="434458"/>
                  <a:pt x="592780" y="450231"/>
                  <a:pt x="620219" y="450231"/>
                </a:cubicBezTo>
                <a:lnTo>
                  <a:pt x="657382" y="450231"/>
                </a:lnTo>
                <a:cubicBezTo>
                  <a:pt x="666780" y="450231"/>
                  <a:pt x="671534" y="457361"/>
                  <a:pt x="671534" y="464815"/>
                </a:cubicBezTo>
                <a:cubicBezTo>
                  <a:pt x="671534" y="472485"/>
                  <a:pt x="666780" y="479399"/>
                  <a:pt x="657382" y="479399"/>
                </a:cubicBezTo>
                <a:lnTo>
                  <a:pt x="577764" y="479399"/>
                </a:lnTo>
                <a:lnTo>
                  <a:pt x="577764" y="513753"/>
                </a:lnTo>
                <a:lnTo>
                  <a:pt x="655977" y="513753"/>
                </a:lnTo>
                <a:cubicBezTo>
                  <a:pt x="686982" y="513753"/>
                  <a:pt x="705347" y="496684"/>
                  <a:pt x="705347" y="464815"/>
                </a:cubicBezTo>
                <a:cubicBezTo>
                  <a:pt x="705347" y="436079"/>
                  <a:pt x="686982" y="419010"/>
                  <a:pt x="662999" y="419010"/>
                </a:cubicBezTo>
                <a:lnTo>
                  <a:pt x="620219" y="419010"/>
                </a:lnTo>
                <a:cubicBezTo>
                  <a:pt x="610173" y="419010"/>
                  <a:pt x="605419" y="412096"/>
                  <a:pt x="605419" y="404426"/>
                </a:cubicBezTo>
                <a:cubicBezTo>
                  <a:pt x="605419" y="396756"/>
                  <a:pt x="610173" y="389842"/>
                  <a:pt x="620219" y="389842"/>
                </a:cubicBezTo>
                <a:lnTo>
                  <a:pt x="694436" y="389842"/>
                </a:lnTo>
                <a:lnTo>
                  <a:pt x="694436" y="356677"/>
                </a:lnTo>
                <a:close/>
                <a:moveTo>
                  <a:pt x="1530159" y="356676"/>
                </a:moveTo>
                <a:lnTo>
                  <a:pt x="1475928" y="513752"/>
                </a:lnTo>
                <a:lnTo>
                  <a:pt x="1514278" y="513752"/>
                </a:lnTo>
                <a:lnTo>
                  <a:pt x="1524217" y="481668"/>
                </a:lnTo>
                <a:lnTo>
                  <a:pt x="1584390" y="481668"/>
                </a:lnTo>
                <a:lnTo>
                  <a:pt x="1594653" y="513752"/>
                </a:lnTo>
                <a:lnTo>
                  <a:pt x="1632356" y="513752"/>
                </a:lnTo>
                <a:lnTo>
                  <a:pt x="1576396" y="356676"/>
                </a:lnTo>
                <a:close/>
                <a:moveTo>
                  <a:pt x="1236424" y="356676"/>
                </a:moveTo>
                <a:cubicBezTo>
                  <a:pt x="1206176" y="356676"/>
                  <a:pt x="1187702" y="374393"/>
                  <a:pt x="1187702" y="404426"/>
                </a:cubicBezTo>
                <a:cubicBezTo>
                  <a:pt x="1187702" y="434458"/>
                  <a:pt x="1208984" y="450231"/>
                  <a:pt x="1236424" y="450231"/>
                </a:cubicBezTo>
                <a:lnTo>
                  <a:pt x="1273587" y="450231"/>
                </a:lnTo>
                <a:cubicBezTo>
                  <a:pt x="1282985" y="450231"/>
                  <a:pt x="1287739" y="457360"/>
                  <a:pt x="1287739" y="464815"/>
                </a:cubicBezTo>
                <a:cubicBezTo>
                  <a:pt x="1287739" y="472485"/>
                  <a:pt x="1282985" y="479399"/>
                  <a:pt x="1273587" y="479399"/>
                </a:cubicBezTo>
                <a:lnTo>
                  <a:pt x="1194076" y="479399"/>
                </a:lnTo>
                <a:lnTo>
                  <a:pt x="1194076" y="513752"/>
                </a:lnTo>
                <a:lnTo>
                  <a:pt x="1272290" y="513752"/>
                </a:lnTo>
                <a:cubicBezTo>
                  <a:pt x="1303295" y="513752"/>
                  <a:pt x="1321660" y="496684"/>
                  <a:pt x="1321660" y="464815"/>
                </a:cubicBezTo>
                <a:cubicBezTo>
                  <a:pt x="1321660" y="436079"/>
                  <a:pt x="1303187" y="419010"/>
                  <a:pt x="1279204" y="419010"/>
                </a:cubicBezTo>
                <a:lnTo>
                  <a:pt x="1236424" y="419010"/>
                </a:lnTo>
                <a:cubicBezTo>
                  <a:pt x="1226377" y="419010"/>
                  <a:pt x="1221624" y="412096"/>
                  <a:pt x="1221624" y="404426"/>
                </a:cubicBezTo>
                <a:cubicBezTo>
                  <a:pt x="1221624" y="396756"/>
                  <a:pt x="1226377" y="389842"/>
                  <a:pt x="1236424" y="389842"/>
                </a:cubicBezTo>
                <a:lnTo>
                  <a:pt x="1310641" y="389842"/>
                </a:lnTo>
                <a:lnTo>
                  <a:pt x="1310641" y="356676"/>
                </a:lnTo>
                <a:close/>
                <a:moveTo>
                  <a:pt x="726522" y="356568"/>
                </a:moveTo>
                <a:lnTo>
                  <a:pt x="726522" y="513752"/>
                </a:lnTo>
                <a:lnTo>
                  <a:pt x="762712" y="513752"/>
                </a:lnTo>
                <a:lnTo>
                  <a:pt x="762712" y="447422"/>
                </a:lnTo>
                <a:lnTo>
                  <a:pt x="814351" y="513752"/>
                </a:lnTo>
                <a:lnTo>
                  <a:pt x="856699" y="513752"/>
                </a:lnTo>
                <a:lnTo>
                  <a:pt x="797174" y="435214"/>
                </a:lnTo>
                <a:lnTo>
                  <a:pt x="856699" y="356568"/>
                </a:lnTo>
                <a:lnTo>
                  <a:pt x="814351" y="356568"/>
                </a:lnTo>
                <a:lnTo>
                  <a:pt x="762712" y="422899"/>
                </a:lnTo>
                <a:lnTo>
                  <a:pt x="762712" y="356568"/>
                </a:lnTo>
                <a:close/>
                <a:moveTo>
                  <a:pt x="1343374" y="356568"/>
                </a:moveTo>
                <a:lnTo>
                  <a:pt x="1343374" y="513752"/>
                </a:lnTo>
                <a:lnTo>
                  <a:pt x="1379673" y="513752"/>
                </a:lnTo>
                <a:lnTo>
                  <a:pt x="1379673" y="447422"/>
                </a:lnTo>
                <a:lnTo>
                  <a:pt x="1431311" y="513752"/>
                </a:lnTo>
                <a:lnTo>
                  <a:pt x="1473551" y="513752"/>
                </a:lnTo>
                <a:lnTo>
                  <a:pt x="1414134" y="435214"/>
                </a:lnTo>
                <a:lnTo>
                  <a:pt x="1473551" y="356568"/>
                </a:lnTo>
                <a:lnTo>
                  <a:pt x="1431311" y="356568"/>
                </a:lnTo>
                <a:lnTo>
                  <a:pt x="1379673" y="422899"/>
                </a:lnTo>
                <a:lnTo>
                  <a:pt x="1379673" y="356568"/>
                </a:lnTo>
                <a:close/>
                <a:moveTo>
                  <a:pt x="0" y="0"/>
                </a:moveTo>
                <a:lnTo>
                  <a:pt x="12191998" y="0"/>
                </a:lnTo>
                <a:lnTo>
                  <a:pt x="12191998" y="6857998"/>
                </a:lnTo>
                <a:lnTo>
                  <a:pt x="0" y="6857998"/>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4" name="Text Placeholder 18">
            <a:extLst>
              <a:ext uri="{FF2B5EF4-FFF2-40B4-BE49-F238E27FC236}">
                <a16:creationId xmlns:a16="http://schemas.microsoft.com/office/drawing/2014/main" id="{CB22D302-BA64-604C-A387-9C7AFEFF2E74}"/>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bg1"/>
                </a:solidFill>
                <a:latin typeface="+mj-lt"/>
              </a:defRPr>
            </a:lvl1pPr>
          </a:lstStyle>
          <a:p>
            <a:pPr lvl="0"/>
            <a:r>
              <a:rPr lang="en-US" noProof="0" dirty="0"/>
              <a:t>Click to add a headline </a:t>
            </a:r>
            <a:br>
              <a:rPr lang="en-US" noProof="0" dirty="0"/>
            </a:br>
            <a:r>
              <a:rPr lang="en-US" noProof="0" dirty="0"/>
              <a:t>of maximum two lines</a:t>
            </a:r>
          </a:p>
        </p:txBody>
      </p:sp>
      <p:sp>
        <p:nvSpPr>
          <p:cNvPr id="15" name="Text Placeholder 18">
            <a:extLst>
              <a:ext uri="{FF2B5EF4-FFF2-40B4-BE49-F238E27FC236}">
                <a16:creationId xmlns:a16="http://schemas.microsoft.com/office/drawing/2014/main" id="{4ADADDBC-B851-244D-89BA-2589CA8A6CD4}"/>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bg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8" name="textruta 5">
            <a:extLst>
              <a:ext uri="{FF2B5EF4-FFF2-40B4-BE49-F238E27FC236}">
                <a16:creationId xmlns:a16="http://schemas.microsoft.com/office/drawing/2014/main" id="{51D675F3-1889-4447-B0F4-FBE407433188}"/>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018DEEF0-DD94-5249-9246-FD6718231BD2}"/>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dirty="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dirty="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0C1C4400-D3B5-244D-A4E9-12F13E258CD7}"/>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862FDDFE-BBE6-8844-9178-35DB0AD8FE9D}"/>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195EB315-6F9E-484B-A621-D47DB0C06E40}"/>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B8761F38-F8CF-437F-91C8-E88BA7141A9E}" type="datetime1">
              <a:rPr lang="en-US" smtClean="0"/>
              <a:t>11/1/2023</a:t>
            </a:fld>
            <a:endParaRPr lang="en-US"/>
          </a:p>
        </p:txBody>
      </p:sp>
      <p:sp>
        <p:nvSpPr>
          <p:cNvPr id="13" name="Platshållare för sidfot 4">
            <a:extLst>
              <a:ext uri="{FF2B5EF4-FFF2-40B4-BE49-F238E27FC236}">
                <a16:creationId xmlns:a16="http://schemas.microsoft.com/office/drawing/2014/main" id="{4A76CA1A-DCA3-D54D-9099-F20574E0CA54}"/>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7" name="Platshållare för bildnummer 5">
            <a:extLst>
              <a:ext uri="{FF2B5EF4-FFF2-40B4-BE49-F238E27FC236}">
                <a16:creationId xmlns:a16="http://schemas.microsoft.com/office/drawing/2014/main" id="{0EF7CEB3-535F-8445-A05D-266E083AD06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9" name="Text Placeholder 4">
            <a:extLst>
              <a:ext uri="{FF2B5EF4-FFF2-40B4-BE49-F238E27FC236}">
                <a16:creationId xmlns:a16="http://schemas.microsoft.com/office/drawing/2014/main" id="{781C0485-B54D-504A-8E1C-DA7CC3C0FF1B}"/>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40867804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Four Images Text">
    <p:bg>
      <p:bgPr>
        <a:solidFill>
          <a:schemeClr val="bg1"/>
        </a:solidFill>
        <a:effectLst/>
      </p:bgPr>
    </p:bg>
    <p:spTree>
      <p:nvGrpSpPr>
        <p:cNvPr id="1" name=""/>
        <p:cNvGrpSpPr/>
        <p:nvPr/>
      </p:nvGrpSpPr>
      <p:grpSpPr>
        <a:xfrm>
          <a:off x="0" y="0"/>
          <a:ext cx="0" cy="0"/>
          <a:chOff x="0" y="0"/>
          <a:chExt cx="0" cy="0"/>
        </a:xfrm>
      </p:grpSpPr>
      <p:sp>
        <p:nvSpPr>
          <p:cNvPr id="33" name="Picture Placeholder 17">
            <a:extLst>
              <a:ext uri="{FF2B5EF4-FFF2-40B4-BE49-F238E27FC236}">
                <a16:creationId xmlns:a16="http://schemas.microsoft.com/office/drawing/2014/main" id="{91BA1C63-2CDA-0D4F-B07B-0D835EE08330}"/>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32" name="Picture Placeholder 31">
            <a:extLst>
              <a:ext uri="{FF2B5EF4-FFF2-40B4-BE49-F238E27FC236}">
                <a16:creationId xmlns:a16="http://schemas.microsoft.com/office/drawing/2014/main" id="{511CEB27-B422-504F-B7BF-31E339BFB94A}"/>
              </a:ext>
            </a:extLst>
          </p:cNvPr>
          <p:cNvSpPr>
            <a:spLocks noGrp="1"/>
          </p:cNvSpPr>
          <p:nvPr>
            <p:ph type="pic" sz="quarter" idx="25" hasCustomPrompt="1"/>
          </p:nvPr>
        </p:nvSpPr>
        <p:spPr>
          <a:xfrm>
            <a:off x="5" y="3429000"/>
            <a:ext cx="6096552" cy="3429002"/>
          </a:xfrm>
          <a:custGeom>
            <a:avLst/>
            <a:gdLst>
              <a:gd name="connsiteX0" fmla="*/ 1146049 w 6096552"/>
              <a:gd name="connsiteY0" fmla="*/ 3041539 h 3429002"/>
              <a:gd name="connsiteX1" fmla="*/ 1157832 w 6096552"/>
              <a:gd name="connsiteY1" fmla="*/ 3076512 h 3429002"/>
              <a:gd name="connsiteX2" fmla="*/ 1134642 w 6096552"/>
              <a:gd name="connsiteY2" fmla="*/ 3076512 h 3429002"/>
              <a:gd name="connsiteX3" fmla="*/ 788170 w 6096552"/>
              <a:gd name="connsiteY3" fmla="*/ 3041539 h 3429002"/>
              <a:gd name="connsiteX4" fmla="*/ 799953 w 6096552"/>
              <a:gd name="connsiteY4" fmla="*/ 3076512 h 3429002"/>
              <a:gd name="connsiteX5" fmla="*/ 776763 w 6096552"/>
              <a:gd name="connsiteY5" fmla="*/ 3076512 h 3429002"/>
              <a:gd name="connsiteX6" fmla="*/ 1132323 w 6096552"/>
              <a:gd name="connsiteY6" fmla="*/ 3022548 h 3429002"/>
              <a:gd name="connsiteX7" fmla="*/ 1100860 w 6096552"/>
              <a:gd name="connsiteY7" fmla="*/ 3113679 h 3429002"/>
              <a:gd name="connsiteX8" fmla="*/ 1123110 w 6096552"/>
              <a:gd name="connsiteY8" fmla="*/ 3113679 h 3429002"/>
              <a:gd name="connsiteX9" fmla="*/ 1128876 w 6096552"/>
              <a:gd name="connsiteY9" fmla="*/ 3095065 h 3429002"/>
              <a:gd name="connsiteX10" fmla="*/ 1163786 w 6096552"/>
              <a:gd name="connsiteY10" fmla="*/ 3095065 h 3429002"/>
              <a:gd name="connsiteX11" fmla="*/ 1169741 w 6096552"/>
              <a:gd name="connsiteY11" fmla="*/ 3113679 h 3429002"/>
              <a:gd name="connsiteX12" fmla="*/ 1191615 w 6096552"/>
              <a:gd name="connsiteY12" fmla="*/ 3113679 h 3429002"/>
              <a:gd name="connsiteX13" fmla="*/ 1159148 w 6096552"/>
              <a:gd name="connsiteY13" fmla="*/ 3022548 h 3429002"/>
              <a:gd name="connsiteX14" fmla="*/ 961907 w 6096552"/>
              <a:gd name="connsiteY14" fmla="*/ 3022548 h 3429002"/>
              <a:gd name="connsiteX15" fmla="*/ 933640 w 6096552"/>
              <a:gd name="connsiteY15" fmla="*/ 3050251 h 3429002"/>
              <a:gd name="connsiteX16" fmla="*/ 961907 w 6096552"/>
              <a:gd name="connsiteY16" fmla="*/ 3076826 h 3429002"/>
              <a:gd name="connsiteX17" fmla="*/ 983468 w 6096552"/>
              <a:gd name="connsiteY17" fmla="*/ 3076826 h 3429002"/>
              <a:gd name="connsiteX18" fmla="*/ 991678 w 6096552"/>
              <a:gd name="connsiteY18" fmla="*/ 3085287 h 3429002"/>
              <a:gd name="connsiteX19" fmla="*/ 983468 w 6096552"/>
              <a:gd name="connsiteY19" fmla="*/ 3093748 h 3429002"/>
              <a:gd name="connsiteX20" fmla="*/ 937338 w 6096552"/>
              <a:gd name="connsiteY20" fmla="*/ 3093748 h 3429002"/>
              <a:gd name="connsiteX21" fmla="*/ 937338 w 6096552"/>
              <a:gd name="connsiteY21" fmla="*/ 3113679 h 3429002"/>
              <a:gd name="connsiteX22" fmla="*/ 982716 w 6096552"/>
              <a:gd name="connsiteY22" fmla="*/ 3113679 h 3429002"/>
              <a:gd name="connsiteX23" fmla="*/ 1011358 w 6096552"/>
              <a:gd name="connsiteY23" fmla="*/ 3085287 h 3429002"/>
              <a:gd name="connsiteX24" fmla="*/ 986727 w 6096552"/>
              <a:gd name="connsiteY24" fmla="*/ 3058712 h 3429002"/>
              <a:gd name="connsiteX25" fmla="*/ 961907 w 6096552"/>
              <a:gd name="connsiteY25" fmla="*/ 3058712 h 3429002"/>
              <a:gd name="connsiteX26" fmla="*/ 953321 w 6096552"/>
              <a:gd name="connsiteY26" fmla="*/ 3050251 h 3429002"/>
              <a:gd name="connsiteX27" fmla="*/ 961907 w 6096552"/>
              <a:gd name="connsiteY27" fmla="*/ 3041790 h 3429002"/>
              <a:gd name="connsiteX28" fmla="*/ 1004965 w 6096552"/>
              <a:gd name="connsiteY28" fmla="*/ 3041790 h 3429002"/>
              <a:gd name="connsiteX29" fmla="*/ 1004965 w 6096552"/>
              <a:gd name="connsiteY29" fmla="*/ 3022548 h 3429002"/>
              <a:gd name="connsiteX30" fmla="*/ 841570 w 6096552"/>
              <a:gd name="connsiteY30" fmla="*/ 3022548 h 3429002"/>
              <a:gd name="connsiteX31" fmla="*/ 841570 w 6096552"/>
              <a:gd name="connsiteY31" fmla="*/ 3113679 h 3429002"/>
              <a:gd name="connsiteX32" fmla="*/ 862692 w 6096552"/>
              <a:gd name="connsiteY32" fmla="*/ 3113679 h 3429002"/>
              <a:gd name="connsiteX33" fmla="*/ 862692 w 6096552"/>
              <a:gd name="connsiteY33" fmla="*/ 3057459 h 3429002"/>
              <a:gd name="connsiteX34" fmla="*/ 898981 w 6096552"/>
              <a:gd name="connsiteY34" fmla="*/ 3113491 h 3429002"/>
              <a:gd name="connsiteX35" fmla="*/ 898981 w 6096552"/>
              <a:gd name="connsiteY35" fmla="*/ 3113679 h 3429002"/>
              <a:gd name="connsiteX36" fmla="*/ 920855 w 6096552"/>
              <a:gd name="connsiteY36" fmla="*/ 3113679 h 3429002"/>
              <a:gd name="connsiteX37" fmla="*/ 920793 w 6096552"/>
              <a:gd name="connsiteY37" fmla="*/ 3093999 h 3429002"/>
              <a:gd name="connsiteX38" fmla="*/ 920667 w 6096552"/>
              <a:gd name="connsiteY38" fmla="*/ 3022548 h 3429002"/>
              <a:gd name="connsiteX39" fmla="*/ 899671 w 6096552"/>
              <a:gd name="connsiteY39" fmla="*/ 3022548 h 3429002"/>
              <a:gd name="connsiteX40" fmla="*/ 899671 w 6096552"/>
              <a:gd name="connsiteY40" fmla="*/ 3079834 h 3429002"/>
              <a:gd name="connsiteX41" fmla="*/ 863068 w 6096552"/>
              <a:gd name="connsiteY41" fmla="*/ 3022548 h 3429002"/>
              <a:gd name="connsiteX42" fmla="*/ 774444 w 6096552"/>
              <a:gd name="connsiteY42" fmla="*/ 3022548 h 3429002"/>
              <a:gd name="connsiteX43" fmla="*/ 742918 w 6096552"/>
              <a:gd name="connsiteY43" fmla="*/ 3113679 h 3429002"/>
              <a:gd name="connsiteX44" fmla="*/ 765168 w 6096552"/>
              <a:gd name="connsiteY44" fmla="*/ 3113679 h 3429002"/>
              <a:gd name="connsiteX45" fmla="*/ 770934 w 6096552"/>
              <a:gd name="connsiteY45" fmla="*/ 3095065 h 3429002"/>
              <a:gd name="connsiteX46" fmla="*/ 805845 w 6096552"/>
              <a:gd name="connsiteY46" fmla="*/ 3095065 h 3429002"/>
              <a:gd name="connsiteX47" fmla="*/ 811799 w 6096552"/>
              <a:gd name="connsiteY47" fmla="*/ 3113679 h 3429002"/>
              <a:gd name="connsiteX48" fmla="*/ 833735 w 6096552"/>
              <a:gd name="connsiteY48" fmla="*/ 3113679 h 3429002"/>
              <a:gd name="connsiteX49" fmla="*/ 801269 w 6096552"/>
              <a:gd name="connsiteY49" fmla="*/ 3022548 h 3429002"/>
              <a:gd name="connsiteX50" fmla="*/ 604404 w 6096552"/>
              <a:gd name="connsiteY50" fmla="*/ 3022548 h 3429002"/>
              <a:gd name="connsiteX51" fmla="*/ 576137 w 6096552"/>
              <a:gd name="connsiteY51" fmla="*/ 3050251 h 3429002"/>
              <a:gd name="connsiteX52" fmla="*/ 604404 w 6096552"/>
              <a:gd name="connsiteY52" fmla="*/ 3076826 h 3429002"/>
              <a:gd name="connsiteX53" fmla="*/ 625964 w 6096552"/>
              <a:gd name="connsiteY53" fmla="*/ 3076826 h 3429002"/>
              <a:gd name="connsiteX54" fmla="*/ 634174 w 6096552"/>
              <a:gd name="connsiteY54" fmla="*/ 3085287 h 3429002"/>
              <a:gd name="connsiteX55" fmla="*/ 625964 w 6096552"/>
              <a:gd name="connsiteY55" fmla="*/ 3093748 h 3429002"/>
              <a:gd name="connsiteX56" fmla="*/ 579772 w 6096552"/>
              <a:gd name="connsiteY56" fmla="*/ 3093748 h 3429002"/>
              <a:gd name="connsiteX57" fmla="*/ 579772 w 6096552"/>
              <a:gd name="connsiteY57" fmla="*/ 3113679 h 3429002"/>
              <a:gd name="connsiteX58" fmla="*/ 625149 w 6096552"/>
              <a:gd name="connsiteY58" fmla="*/ 3113679 h 3429002"/>
              <a:gd name="connsiteX59" fmla="*/ 653792 w 6096552"/>
              <a:gd name="connsiteY59" fmla="*/ 3085287 h 3429002"/>
              <a:gd name="connsiteX60" fmla="*/ 629223 w 6096552"/>
              <a:gd name="connsiteY60" fmla="*/ 3058712 h 3429002"/>
              <a:gd name="connsiteX61" fmla="*/ 604404 w 6096552"/>
              <a:gd name="connsiteY61" fmla="*/ 3058712 h 3429002"/>
              <a:gd name="connsiteX62" fmla="*/ 595817 w 6096552"/>
              <a:gd name="connsiteY62" fmla="*/ 3050251 h 3429002"/>
              <a:gd name="connsiteX63" fmla="*/ 604404 w 6096552"/>
              <a:gd name="connsiteY63" fmla="*/ 3041790 h 3429002"/>
              <a:gd name="connsiteX64" fmla="*/ 647462 w 6096552"/>
              <a:gd name="connsiteY64" fmla="*/ 3041790 h 3429002"/>
              <a:gd name="connsiteX65" fmla="*/ 647462 w 6096552"/>
              <a:gd name="connsiteY65" fmla="*/ 3022548 h 3429002"/>
              <a:gd name="connsiteX66" fmla="*/ 1023956 w 6096552"/>
              <a:gd name="connsiteY66" fmla="*/ 3022485 h 3429002"/>
              <a:gd name="connsiteX67" fmla="*/ 1023956 w 6096552"/>
              <a:gd name="connsiteY67" fmla="*/ 3113679 h 3429002"/>
              <a:gd name="connsiteX68" fmla="*/ 1045016 w 6096552"/>
              <a:gd name="connsiteY68" fmla="*/ 3113679 h 3429002"/>
              <a:gd name="connsiteX69" fmla="*/ 1045016 w 6096552"/>
              <a:gd name="connsiteY69" fmla="*/ 3075196 h 3429002"/>
              <a:gd name="connsiteX70" fmla="*/ 1074975 w 6096552"/>
              <a:gd name="connsiteY70" fmla="*/ 3113679 h 3429002"/>
              <a:gd name="connsiteX71" fmla="*/ 1099481 w 6096552"/>
              <a:gd name="connsiteY71" fmla="*/ 3113679 h 3429002"/>
              <a:gd name="connsiteX72" fmla="*/ 1065009 w 6096552"/>
              <a:gd name="connsiteY72" fmla="*/ 3068114 h 3429002"/>
              <a:gd name="connsiteX73" fmla="*/ 1099481 w 6096552"/>
              <a:gd name="connsiteY73" fmla="*/ 3022485 h 3429002"/>
              <a:gd name="connsiteX74" fmla="*/ 1074975 w 6096552"/>
              <a:gd name="connsiteY74" fmla="*/ 3022485 h 3429002"/>
              <a:gd name="connsiteX75" fmla="*/ 1045016 w 6096552"/>
              <a:gd name="connsiteY75" fmla="*/ 3060968 h 3429002"/>
              <a:gd name="connsiteX76" fmla="*/ 1045016 w 6096552"/>
              <a:gd name="connsiteY76" fmla="*/ 3022485 h 3429002"/>
              <a:gd name="connsiteX77" fmla="*/ 666077 w 6096552"/>
              <a:gd name="connsiteY77" fmla="*/ 3022485 h 3429002"/>
              <a:gd name="connsiteX78" fmla="*/ 666077 w 6096552"/>
              <a:gd name="connsiteY78" fmla="*/ 3113679 h 3429002"/>
              <a:gd name="connsiteX79" fmla="*/ 687073 w 6096552"/>
              <a:gd name="connsiteY79" fmla="*/ 3113679 h 3429002"/>
              <a:gd name="connsiteX80" fmla="*/ 687073 w 6096552"/>
              <a:gd name="connsiteY80" fmla="*/ 3075196 h 3429002"/>
              <a:gd name="connsiteX81" fmla="*/ 717033 w 6096552"/>
              <a:gd name="connsiteY81" fmla="*/ 3113679 h 3429002"/>
              <a:gd name="connsiteX82" fmla="*/ 741602 w 6096552"/>
              <a:gd name="connsiteY82" fmla="*/ 3113679 h 3429002"/>
              <a:gd name="connsiteX83" fmla="*/ 707067 w 6096552"/>
              <a:gd name="connsiteY83" fmla="*/ 3068114 h 3429002"/>
              <a:gd name="connsiteX84" fmla="*/ 741602 w 6096552"/>
              <a:gd name="connsiteY84" fmla="*/ 3022485 h 3429002"/>
              <a:gd name="connsiteX85" fmla="*/ 717033 w 6096552"/>
              <a:gd name="connsiteY85" fmla="*/ 3022485 h 3429002"/>
              <a:gd name="connsiteX86" fmla="*/ 687073 w 6096552"/>
              <a:gd name="connsiteY86" fmla="*/ 3060968 h 3429002"/>
              <a:gd name="connsiteX87" fmla="*/ 687073 w 6096552"/>
              <a:gd name="connsiteY87" fmla="*/ 3022485 h 3429002"/>
              <a:gd name="connsiteX88" fmla="*/ 0 w 6096552"/>
              <a:gd name="connsiteY88" fmla="*/ 0 h 3429002"/>
              <a:gd name="connsiteX89" fmla="*/ 6096552 w 6096552"/>
              <a:gd name="connsiteY89" fmla="*/ 0 h 3429002"/>
              <a:gd name="connsiteX90" fmla="*/ 6096552 w 6096552"/>
              <a:gd name="connsiteY90" fmla="*/ 1 h 3429002"/>
              <a:gd name="connsiteX91" fmla="*/ 6096552 w 6096552"/>
              <a:gd name="connsiteY91" fmla="*/ 2 h 3429002"/>
              <a:gd name="connsiteX92" fmla="*/ 6096552 w 6096552"/>
              <a:gd name="connsiteY92" fmla="*/ 3429000 h 3429002"/>
              <a:gd name="connsiteX93" fmla="*/ 6096552 w 6096552"/>
              <a:gd name="connsiteY93" fmla="*/ 3429002 h 3429002"/>
              <a:gd name="connsiteX94" fmla="*/ 0 w 6096552"/>
              <a:gd name="connsiteY94" fmla="*/ 3429002 h 342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096552" h="3429002">
                <a:moveTo>
                  <a:pt x="1146049" y="3041539"/>
                </a:moveTo>
                <a:lnTo>
                  <a:pt x="1157832" y="3076512"/>
                </a:lnTo>
                <a:lnTo>
                  <a:pt x="1134642" y="3076512"/>
                </a:lnTo>
                <a:close/>
                <a:moveTo>
                  <a:pt x="788170" y="3041539"/>
                </a:moveTo>
                <a:lnTo>
                  <a:pt x="799953" y="3076512"/>
                </a:lnTo>
                <a:lnTo>
                  <a:pt x="776763" y="3076512"/>
                </a:lnTo>
                <a:close/>
                <a:moveTo>
                  <a:pt x="1132323" y="3022548"/>
                </a:moveTo>
                <a:lnTo>
                  <a:pt x="1100860" y="3113679"/>
                </a:lnTo>
                <a:lnTo>
                  <a:pt x="1123110" y="3113679"/>
                </a:lnTo>
                <a:lnTo>
                  <a:pt x="1128876" y="3095065"/>
                </a:lnTo>
                <a:lnTo>
                  <a:pt x="1163786" y="3095065"/>
                </a:lnTo>
                <a:lnTo>
                  <a:pt x="1169741" y="3113679"/>
                </a:lnTo>
                <a:lnTo>
                  <a:pt x="1191615" y="3113679"/>
                </a:lnTo>
                <a:lnTo>
                  <a:pt x="1159148" y="3022548"/>
                </a:lnTo>
                <a:close/>
                <a:moveTo>
                  <a:pt x="961907" y="3022548"/>
                </a:moveTo>
                <a:cubicBezTo>
                  <a:pt x="944358" y="3022548"/>
                  <a:pt x="933640" y="3032827"/>
                  <a:pt x="933640" y="3050251"/>
                </a:cubicBezTo>
                <a:cubicBezTo>
                  <a:pt x="933640" y="3067675"/>
                  <a:pt x="945987" y="3076826"/>
                  <a:pt x="961907" y="3076826"/>
                </a:cubicBezTo>
                <a:lnTo>
                  <a:pt x="983468" y="3076826"/>
                </a:lnTo>
                <a:cubicBezTo>
                  <a:pt x="988921" y="3076826"/>
                  <a:pt x="991678" y="3080962"/>
                  <a:pt x="991678" y="3085287"/>
                </a:cubicBezTo>
                <a:cubicBezTo>
                  <a:pt x="991678" y="3089737"/>
                  <a:pt x="988921" y="3093748"/>
                  <a:pt x="983468" y="3093748"/>
                </a:cubicBezTo>
                <a:lnTo>
                  <a:pt x="937338" y="3093748"/>
                </a:lnTo>
                <a:lnTo>
                  <a:pt x="937338" y="3113679"/>
                </a:lnTo>
                <a:lnTo>
                  <a:pt x="982716" y="3113679"/>
                </a:lnTo>
                <a:cubicBezTo>
                  <a:pt x="1000704" y="3113679"/>
                  <a:pt x="1011358" y="3103777"/>
                  <a:pt x="1011358" y="3085287"/>
                </a:cubicBezTo>
                <a:cubicBezTo>
                  <a:pt x="1011358" y="3068615"/>
                  <a:pt x="1000641" y="3058712"/>
                  <a:pt x="986727" y="3058712"/>
                </a:cubicBezTo>
                <a:lnTo>
                  <a:pt x="961907" y="3058712"/>
                </a:lnTo>
                <a:cubicBezTo>
                  <a:pt x="956078" y="3058712"/>
                  <a:pt x="953321" y="3054701"/>
                  <a:pt x="953321" y="3050251"/>
                </a:cubicBezTo>
                <a:cubicBezTo>
                  <a:pt x="953321" y="3045801"/>
                  <a:pt x="956078" y="3041790"/>
                  <a:pt x="961907" y="3041790"/>
                </a:cubicBezTo>
                <a:lnTo>
                  <a:pt x="1004965" y="3041790"/>
                </a:lnTo>
                <a:lnTo>
                  <a:pt x="1004965" y="3022548"/>
                </a:lnTo>
                <a:close/>
                <a:moveTo>
                  <a:pt x="841570" y="3022548"/>
                </a:moveTo>
                <a:lnTo>
                  <a:pt x="841570" y="3113679"/>
                </a:lnTo>
                <a:lnTo>
                  <a:pt x="862692" y="3113679"/>
                </a:lnTo>
                <a:lnTo>
                  <a:pt x="862692" y="3057459"/>
                </a:lnTo>
                <a:lnTo>
                  <a:pt x="898981" y="3113491"/>
                </a:lnTo>
                <a:lnTo>
                  <a:pt x="898981" y="3113679"/>
                </a:lnTo>
                <a:lnTo>
                  <a:pt x="920855" y="3113679"/>
                </a:lnTo>
                <a:lnTo>
                  <a:pt x="920793" y="3093999"/>
                </a:lnTo>
                <a:lnTo>
                  <a:pt x="920667" y="3022548"/>
                </a:lnTo>
                <a:lnTo>
                  <a:pt x="899671" y="3022548"/>
                </a:lnTo>
                <a:lnTo>
                  <a:pt x="899671" y="3079834"/>
                </a:lnTo>
                <a:lnTo>
                  <a:pt x="863068" y="3022548"/>
                </a:lnTo>
                <a:close/>
                <a:moveTo>
                  <a:pt x="774444" y="3022548"/>
                </a:moveTo>
                <a:lnTo>
                  <a:pt x="742918" y="3113679"/>
                </a:lnTo>
                <a:lnTo>
                  <a:pt x="765168" y="3113679"/>
                </a:lnTo>
                <a:lnTo>
                  <a:pt x="770934" y="3095065"/>
                </a:lnTo>
                <a:lnTo>
                  <a:pt x="805845" y="3095065"/>
                </a:lnTo>
                <a:lnTo>
                  <a:pt x="811799" y="3113679"/>
                </a:lnTo>
                <a:lnTo>
                  <a:pt x="833735" y="3113679"/>
                </a:lnTo>
                <a:lnTo>
                  <a:pt x="801269" y="3022548"/>
                </a:lnTo>
                <a:close/>
                <a:moveTo>
                  <a:pt x="604404" y="3022548"/>
                </a:moveTo>
                <a:cubicBezTo>
                  <a:pt x="586792" y="3022548"/>
                  <a:pt x="576137" y="3032827"/>
                  <a:pt x="576137" y="3050251"/>
                </a:cubicBezTo>
                <a:cubicBezTo>
                  <a:pt x="576137" y="3067675"/>
                  <a:pt x="588484" y="3076826"/>
                  <a:pt x="604404" y="3076826"/>
                </a:cubicBezTo>
                <a:lnTo>
                  <a:pt x="625964" y="3076826"/>
                </a:lnTo>
                <a:cubicBezTo>
                  <a:pt x="631417" y="3076826"/>
                  <a:pt x="634174" y="3080962"/>
                  <a:pt x="634174" y="3085287"/>
                </a:cubicBezTo>
                <a:cubicBezTo>
                  <a:pt x="634174" y="3089737"/>
                  <a:pt x="631417" y="3093748"/>
                  <a:pt x="625964" y="3093748"/>
                </a:cubicBezTo>
                <a:lnTo>
                  <a:pt x="579772" y="3093748"/>
                </a:lnTo>
                <a:lnTo>
                  <a:pt x="579772" y="3113679"/>
                </a:lnTo>
                <a:lnTo>
                  <a:pt x="625149" y="3113679"/>
                </a:lnTo>
                <a:cubicBezTo>
                  <a:pt x="643137" y="3113679"/>
                  <a:pt x="653792" y="3103777"/>
                  <a:pt x="653792" y="3085287"/>
                </a:cubicBezTo>
                <a:cubicBezTo>
                  <a:pt x="653792" y="3068615"/>
                  <a:pt x="643137" y="3058712"/>
                  <a:pt x="629223" y="3058712"/>
                </a:cubicBezTo>
                <a:lnTo>
                  <a:pt x="604404" y="3058712"/>
                </a:lnTo>
                <a:cubicBezTo>
                  <a:pt x="598575" y="3058712"/>
                  <a:pt x="595817" y="3054701"/>
                  <a:pt x="595817" y="3050251"/>
                </a:cubicBezTo>
                <a:cubicBezTo>
                  <a:pt x="595817" y="3045801"/>
                  <a:pt x="598575" y="3041790"/>
                  <a:pt x="604404" y="3041790"/>
                </a:cubicBezTo>
                <a:lnTo>
                  <a:pt x="647462" y="3041790"/>
                </a:lnTo>
                <a:lnTo>
                  <a:pt x="647462" y="3022548"/>
                </a:lnTo>
                <a:close/>
                <a:moveTo>
                  <a:pt x="1023956" y="3022485"/>
                </a:moveTo>
                <a:lnTo>
                  <a:pt x="1023956" y="3113679"/>
                </a:lnTo>
                <a:lnTo>
                  <a:pt x="1045016" y="3113679"/>
                </a:lnTo>
                <a:lnTo>
                  <a:pt x="1045016" y="3075196"/>
                </a:lnTo>
                <a:lnTo>
                  <a:pt x="1074975" y="3113679"/>
                </a:lnTo>
                <a:lnTo>
                  <a:pt x="1099481" y="3113679"/>
                </a:lnTo>
                <a:lnTo>
                  <a:pt x="1065009" y="3068114"/>
                </a:lnTo>
                <a:lnTo>
                  <a:pt x="1099481" y="3022485"/>
                </a:lnTo>
                <a:lnTo>
                  <a:pt x="1074975" y="3022485"/>
                </a:lnTo>
                <a:lnTo>
                  <a:pt x="1045016" y="3060968"/>
                </a:lnTo>
                <a:lnTo>
                  <a:pt x="1045016" y="3022485"/>
                </a:lnTo>
                <a:close/>
                <a:moveTo>
                  <a:pt x="666077" y="3022485"/>
                </a:moveTo>
                <a:lnTo>
                  <a:pt x="666077" y="3113679"/>
                </a:lnTo>
                <a:lnTo>
                  <a:pt x="687073" y="3113679"/>
                </a:lnTo>
                <a:lnTo>
                  <a:pt x="687073" y="3075196"/>
                </a:lnTo>
                <a:lnTo>
                  <a:pt x="717033" y="3113679"/>
                </a:lnTo>
                <a:lnTo>
                  <a:pt x="741602" y="3113679"/>
                </a:lnTo>
                <a:lnTo>
                  <a:pt x="707067" y="3068114"/>
                </a:lnTo>
                <a:lnTo>
                  <a:pt x="741602" y="3022485"/>
                </a:lnTo>
                <a:lnTo>
                  <a:pt x="717033" y="3022485"/>
                </a:lnTo>
                <a:lnTo>
                  <a:pt x="687073" y="3060968"/>
                </a:lnTo>
                <a:lnTo>
                  <a:pt x="687073" y="3022485"/>
                </a:lnTo>
                <a:close/>
                <a:moveTo>
                  <a:pt x="0" y="0"/>
                </a:moveTo>
                <a:lnTo>
                  <a:pt x="6096552" y="0"/>
                </a:lnTo>
                <a:lnTo>
                  <a:pt x="6096552" y="1"/>
                </a:lnTo>
                <a:lnTo>
                  <a:pt x="6096552" y="2"/>
                </a:lnTo>
                <a:lnTo>
                  <a:pt x="6096552" y="3429000"/>
                </a:lnTo>
                <a:lnTo>
                  <a:pt x="6096552" y="3429002"/>
                </a:lnTo>
                <a:lnTo>
                  <a:pt x="0" y="3429002"/>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0" name="Picture Placeholder 11">
            <a:extLst>
              <a:ext uri="{FF2B5EF4-FFF2-40B4-BE49-F238E27FC236}">
                <a16:creationId xmlns:a16="http://schemas.microsoft.com/office/drawing/2014/main" id="{E26C3E65-10F6-D14C-A4C6-B9C29EF3382F}"/>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1" name="Picture Placeholder 13">
            <a:extLst>
              <a:ext uri="{FF2B5EF4-FFF2-40B4-BE49-F238E27FC236}">
                <a16:creationId xmlns:a16="http://schemas.microsoft.com/office/drawing/2014/main" id="{6478AEAD-2263-1A47-A959-55E27B18824E}"/>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3" name="Text Placeholder 18">
            <a:extLst>
              <a:ext uri="{FF2B5EF4-FFF2-40B4-BE49-F238E27FC236}">
                <a16:creationId xmlns:a16="http://schemas.microsoft.com/office/drawing/2014/main" id="{AE36B329-0BE6-7A49-8654-DDEA7932EC4D}"/>
              </a:ext>
            </a:extLst>
          </p:cNvPr>
          <p:cNvSpPr>
            <a:spLocks noGrp="1"/>
          </p:cNvSpPr>
          <p:nvPr>
            <p:ph type="body" sz="quarter" idx="19" hasCustomPrompt="1"/>
          </p:nvPr>
        </p:nvSpPr>
        <p:spPr>
          <a:xfrm>
            <a:off x="6102156" y="1300220"/>
            <a:ext cx="6096552"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6" name="Text Placeholder 18">
            <a:extLst>
              <a:ext uri="{FF2B5EF4-FFF2-40B4-BE49-F238E27FC236}">
                <a16:creationId xmlns:a16="http://schemas.microsoft.com/office/drawing/2014/main" id="{CAD788D9-156D-3B46-B27B-0C6E941B8270}"/>
              </a:ext>
            </a:extLst>
          </p:cNvPr>
          <p:cNvSpPr>
            <a:spLocks noGrp="1"/>
          </p:cNvSpPr>
          <p:nvPr>
            <p:ph type="body" sz="quarter" idx="21" hasCustomPrompt="1"/>
          </p:nvPr>
        </p:nvSpPr>
        <p:spPr>
          <a:xfrm>
            <a:off x="6102155" y="4729219"/>
            <a:ext cx="6089839"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1" name="Text Placeholder 18">
            <a:extLst>
              <a:ext uri="{FF2B5EF4-FFF2-40B4-BE49-F238E27FC236}">
                <a16:creationId xmlns:a16="http://schemas.microsoft.com/office/drawing/2014/main" id="{CAE0F1B9-C51D-2C4C-8657-A80AEC2E3D1F}"/>
              </a:ext>
            </a:extLst>
          </p:cNvPr>
          <p:cNvSpPr>
            <a:spLocks noGrp="1"/>
          </p:cNvSpPr>
          <p:nvPr>
            <p:ph type="body" sz="quarter" idx="14" hasCustomPrompt="1"/>
          </p:nvPr>
        </p:nvSpPr>
        <p:spPr>
          <a:xfrm>
            <a:off x="0" y="1300220"/>
            <a:ext cx="6096000"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5" name="Text Placeholder 18">
            <a:extLst>
              <a:ext uri="{FF2B5EF4-FFF2-40B4-BE49-F238E27FC236}">
                <a16:creationId xmlns:a16="http://schemas.microsoft.com/office/drawing/2014/main" id="{7744189A-DC50-C443-9FD4-A84FC60A0108}"/>
              </a:ext>
            </a:extLst>
          </p:cNvPr>
          <p:cNvSpPr>
            <a:spLocks noGrp="1"/>
          </p:cNvSpPr>
          <p:nvPr>
            <p:ph type="body" sz="quarter" idx="20" hasCustomPrompt="1"/>
          </p:nvPr>
        </p:nvSpPr>
        <p:spPr>
          <a:xfrm>
            <a:off x="-5594" y="4729219"/>
            <a:ext cx="6101594"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4" name="textruta 5">
            <a:extLst>
              <a:ext uri="{FF2B5EF4-FFF2-40B4-BE49-F238E27FC236}">
                <a16:creationId xmlns:a16="http://schemas.microsoft.com/office/drawing/2014/main" id="{19FBFB5A-FFAC-8E48-BE9F-8171ABD4A95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7" name="textruta 16">
            <a:extLst>
              <a:ext uri="{FF2B5EF4-FFF2-40B4-BE49-F238E27FC236}">
                <a16:creationId xmlns:a16="http://schemas.microsoft.com/office/drawing/2014/main" id="{75DFCBE9-EE68-0440-97A2-234715FAABCE}"/>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8" name="Rektangel 17">
            <a:extLst>
              <a:ext uri="{FF2B5EF4-FFF2-40B4-BE49-F238E27FC236}">
                <a16:creationId xmlns:a16="http://schemas.microsoft.com/office/drawing/2014/main" id="{559F1CA4-11DF-CD41-9092-56CD49479BD3}"/>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420B4BDA-12DF-064A-BD9D-7A5CBB0BD6CB}"/>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Platshållare för datum 3">
            <a:extLst>
              <a:ext uri="{FF2B5EF4-FFF2-40B4-BE49-F238E27FC236}">
                <a16:creationId xmlns:a16="http://schemas.microsoft.com/office/drawing/2014/main" id="{095D123A-AEDC-BC4D-9CB3-3B6510387C2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BEB42AF4-326D-48B2-8A7B-711CC801935F}" type="datetime1">
              <a:rPr lang="en-US" smtClean="0"/>
              <a:t>11/1/2023</a:t>
            </a:fld>
            <a:endParaRPr lang="en-US"/>
          </a:p>
        </p:txBody>
      </p:sp>
      <p:sp>
        <p:nvSpPr>
          <p:cNvPr id="23" name="Platshållare för sidfot 4">
            <a:extLst>
              <a:ext uri="{FF2B5EF4-FFF2-40B4-BE49-F238E27FC236}">
                <a16:creationId xmlns:a16="http://schemas.microsoft.com/office/drawing/2014/main" id="{2C79257B-832F-5742-855F-0AA0C3381084}"/>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4" name="Platshållare för bildnummer 5">
            <a:extLst>
              <a:ext uri="{FF2B5EF4-FFF2-40B4-BE49-F238E27FC236}">
                <a16:creationId xmlns:a16="http://schemas.microsoft.com/office/drawing/2014/main" id="{EFDD78FE-8BED-3F40-B84D-A849758983FC}"/>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5" name="Text Placeholder 4">
            <a:extLst>
              <a:ext uri="{FF2B5EF4-FFF2-40B4-BE49-F238E27FC236}">
                <a16:creationId xmlns:a16="http://schemas.microsoft.com/office/drawing/2014/main" id="{71A9C98A-4687-4040-B606-2087DF2A2EFC}"/>
              </a:ext>
            </a:extLst>
          </p:cNvPr>
          <p:cNvSpPr>
            <a:spLocks noGrp="1"/>
          </p:cNvSpPr>
          <p:nvPr>
            <p:ph type="body" sz="quarter" idx="2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173D70AB-BF8E-C648-AAC9-4F8B819A8EA1}"/>
              </a:ext>
            </a:extLst>
          </p:cNvPr>
          <p:cNvSpPr>
            <a:spLocks noGrp="1"/>
          </p:cNvSpPr>
          <p:nvPr>
            <p:ph type="body" sz="quarter" idx="27" hasCustomPrompt="1"/>
          </p:nvPr>
        </p:nvSpPr>
        <p:spPr>
          <a:xfrm rot="5400000">
            <a:off x="4805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7" name="Text Placeholder 4">
            <a:extLst>
              <a:ext uri="{FF2B5EF4-FFF2-40B4-BE49-F238E27FC236}">
                <a16:creationId xmlns:a16="http://schemas.microsoft.com/office/drawing/2014/main" id="{71F88B05-AE87-C844-A8AD-6E40968EBE38}"/>
              </a:ext>
            </a:extLst>
          </p:cNvPr>
          <p:cNvSpPr>
            <a:spLocks noGrp="1"/>
          </p:cNvSpPr>
          <p:nvPr>
            <p:ph type="body" sz="quarter" idx="28" hasCustomPrompt="1"/>
          </p:nvPr>
        </p:nvSpPr>
        <p:spPr>
          <a:xfrm rot="5400000">
            <a:off x="4805730" y="4232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8" name="Text Placeholder 4">
            <a:extLst>
              <a:ext uri="{FF2B5EF4-FFF2-40B4-BE49-F238E27FC236}">
                <a16:creationId xmlns:a16="http://schemas.microsoft.com/office/drawing/2014/main" id="{57F2AD48-4016-D14A-BC63-41C3D6B3BDF0}"/>
              </a:ext>
            </a:extLst>
          </p:cNvPr>
          <p:cNvSpPr>
            <a:spLocks noGrp="1"/>
          </p:cNvSpPr>
          <p:nvPr>
            <p:ph type="body" sz="quarter" idx="29" hasCustomPrompt="1"/>
          </p:nvPr>
        </p:nvSpPr>
        <p:spPr>
          <a:xfrm rot="5400000">
            <a:off x="10902284" y="4232645"/>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904199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Three images">
    <p:bg>
      <p:bgPr>
        <a:solidFill>
          <a:schemeClr val="bg1"/>
        </a:solidFill>
        <a:effectLst/>
      </p:bgPr>
    </p:bg>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67A803C1-5E85-5C45-B84F-9737F92F8DDF}"/>
              </a:ext>
            </a:extLst>
          </p:cNvPr>
          <p:cNvSpPr>
            <a:spLocks noGrp="1"/>
          </p:cNvSpPr>
          <p:nvPr>
            <p:ph type="pic" sz="quarter" idx="13" hasCustomPrompt="1"/>
          </p:nvPr>
        </p:nvSpPr>
        <p:spPr>
          <a:xfrm>
            <a:off x="5" y="5"/>
            <a:ext cx="6109247" cy="6857997"/>
          </a:xfrm>
          <a:custGeom>
            <a:avLst/>
            <a:gdLst>
              <a:gd name="connsiteX0" fmla="*/ 1146049 w 6094408"/>
              <a:gd name="connsiteY0" fmla="*/ 6470534 h 6857997"/>
              <a:gd name="connsiteX1" fmla="*/ 1157832 w 6094408"/>
              <a:gd name="connsiteY1" fmla="*/ 6505507 h 6857997"/>
              <a:gd name="connsiteX2" fmla="*/ 1134642 w 6094408"/>
              <a:gd name="connsiteY2" fmla="*/ 6505507 h 6857997"/>
              <a:gd name="connsiteX3" fmla="*/ 788170 w 6094408"/>
              <a:gd name="connsiteY3" fmla="*/ 6470534 h 6857997"/>
              <a:gd name="connsiteX4" fmla="*/ 799953 w 6094408"/>
              <a:gd name="connsiteY4" fmla="*/ 6505507 h 6857997"/>
              <a:gd name="connsiteX5" fmla="*/ 776763 w 6094408"/>
              <a:gd name="connsiteY5" fmla="*/ 6505507 h 6857997"/>
              <a:gd name="connsiteX6" fmla="*/ 1132323 w 6094408"/>
              <a:gd name="connsiteY6" fmla="*/ 6451543 h 6857997"/>
              <a:gd name="connsiteX7" fmla="*/ 1100860 w 6094408"/>
              <a:gd name="connsiteY7" fmla="*/ 6542674 h 6857997"/>
              <a:gd name="connsiteX8" fmla="*/ 1123110 w 6094408"/>
              <a:gd name="connsiteY8" fmla="*/ 6542674 h 6857997"/>
              <a:gd name="connsiteX9" fmla="*/ 1128876 w 6094408"/>
              <a:gd name="connsiteY9" fmla="*/ 6524060 h 6857997"/>
              <a:gd name="connsiteX10" fmla="*/ 1163786 w 6094408"/>
              <a:gd name="connsiteY10" fmla="*/ 6524060 h 6857997"/>
              <a:gd name="connsiteX11" fmla="*/ 1169741 w 6094408"/>
              <a:gd name="connsiteY11" fmla="*/ 6542674 h 6857997"/>
              <a:gd name="connsiteX12" fmla="*/ 1191615 w 6094408"/>
              <a:gd name="connsiteY12" fmla="*/ 6542674 h 6857997"/>
              <a:gd name="connsiteX13" fmla="*/ 1159148 w 6094408"/>
              <a:gd name="connsiteY13" fmla="*/ 6451543 h 6857997"/>
              <a:gd name="connsiteX14" fmla="*/ 961907 w 6094408"/>
              <a:gd name="connsiteY14" fmla="*/ 6451543 h 6857997"/>
              <a:gd name="connsiteX15" fmla="*/ 933640 w 6094408"/>
              <a:gd name="connsiteY15" fmla="*/ 6479246 h 6857997"/>
              <a:gd name="connsiteX16" fmla="*/ 961907 w 6094408"/>
              <a:gd name="connsiteY16" fmla="*/ 6505821 h 6857997"/>
              <a:gd name="connsiteX17" fmla="*/ 983468 w 6094408"/>
              <a:gd name="connsiteY17" fmla="*/ 6505821 h 6857997"/>
              <a:gd name="connsiteX18" fmla="*/ 991678 w 6094408"/>
              <a:gd name="connsiteY18" fmla="*/ 6514282 h 6857997"/>
              <a:gd name="connsiteX19" fmla="*/ 983468 w 6094408"/>
              <a:gd name="connsiteY19" fmla="*/ 6522743 h 6857997"/>
              <a:gd name="connsiteX20" fmla="*/ 937338 w 6094408"/>
              <a:gd name="connsiteY20" fmla="*/ 6522743 h 6857997"/>
              <a:gd name="connsiteX21" fmla="*/ 937338 w 6094408"/>
              <a:gd name="connsiteY21" fmla="*/ 6542674 h 6857997"/>
              <a:gd name="connsiteX22" fmla="*/ 982716 w 6094408"/>
              <a:gd name="connsiteY22" fmla="*/ 6542674 h 6857997"/>
              <a:gd name="connsiteX23" fmla="*/ 1011358 w 6094408"/>
              <a:gd name="connsiteY23" fmla="*/ 6514282 h 6857997"/>
              <a:gd name="connsiteX24" fmla="*/ 986727 w 6094408"/>
              <a:gd name="connsiteY24" fmla="*/ 6487707 h 6857997"/>
              <a:gd name="connsiteX25" fmla="*/ 961907 w 6094408"/>
              <a:gd name="connsiteY25" fmla="*/ 6487707 h 6857997"/>
              <a:gd name="connsiteX26" fmla="*/ 953321 w 6094408"/>
              <a:gd name="connsiteY26" fmla="*/ 6479246 h 6857997"/>
              <a:gd name="connsiteX27" fmla="*/ 961907 w 6094408"/>
              <a:gd name="connsiteY27" fmla="*/ 6470785 h 6857997"/>
              <a:gd name="connsiteX28" fmla="*/ 1004965 w 6094408"/>
              <a:gd name="connsiteY28" fmla="*/ 6470785 h 6857997"/>
              <a:gd name="connsiteX29" fmla="*/ 1004965 w 6094408"/>
              <a:gd name="connsiteY29" fmla="*/ 6451543 h 6857997"/>
              <a:gd name="connsiteX30" fmla="*/ 841570 w 6094408"/>
              <a:gd name="connsiteY30" fmla="*/ 6451543 h 6857997"/>
              <a:gd name="connsiteX31" fmla="*/ 841570 w 6094408"/>
              <a:gd name="connsiteY31" fmla="*/ 6542674 h 6857997"/>
              <a:gd name="connsiteX32" fmla="*/ 862692 w 6094408"/>
              <a:gd name="connsiteY32" fmla="*/ 6542674 h 6857997"/>
              <a:gd name="connsiteX33" fmla="*/ 862692 w 6094408"/>
              <a:gd name="connsiteY33" fmla="*/ 6486454 h 6857997"/>
              <a:gd name="connsiteX34" fmla="*/ 898981 w 6094408"/>
              <a:gd name="connsiteY34" fmla="*/ 6542486 h 6857997"/>
              <a:gd name="connsiteX35" fmla="*/ 898981 w 6094408"/>
              <a:gd name="connsiteY35" fmla="*/ 6542674 h 6857997"/>
              <a:gd name="connsiteX36" fmla="*/ 920855 w 6094408"/>
              <a:gd name="connsiteY36" fmla="*/ 6542674 h 6857997"/>
              <a:gd name="connsiteX37" fmla="*/ 920793 w 6094408"/>
              <a:gd name="connsiteY37" fmla="*/ 6522994 h 6857997"/>
              <a:gd name="connsiteX38" fmla="*/ 920667 w 6094408"/>
              <a:gd name="connsiteY38" fmla="*/ 6451543 h 6857997"/>
              <a:gd name="connsiteX39" fmla="*/ 899671 w 6094408"/>
              <a:gd name="connsiteY39" fmla="*/ 6451543 h 6857997"/>
              <a:gd name="connsiteX40" fmla="*/ 899671 w 6094408"/>
              <a:gd name="connsiteY40" fmla="*/ 6508829 h 6857997"/>
              <a:gd name="connsiteX41" fmla="*/ 863068 w 6094408"/>
              <a:gd name="connsiteY41" fmla="*/ 6451543 h 6857997"/>
              <a:gd name="connsiteX42" fmla="*/ 774444 w 6094408"/>
              <a:gd name="connsiteY42" fmla="*/ 6451543 h 6857997"/>
              <a:gd name="connsiteX43" fmla="*/ 742918 w 6094408"/>
              <a:gd name="connsiteY43" fmla="*/ 6542674 h 6857997"/>
              <a:gd name="connsiteX44" fmla="*/ 765168 w 6094408"/>
              <a:gd name="connsiteY44" fmla="*/ 6542674 h 6857997"/>
              <a:gd name="connsiteX45" fmla="*/ 770934 w 6094408"/>
              <a:gd name="connsiteY45" fmla="*/ 6524060 h 6857997"/>
              <a:gd name="connsiteX46" fmla="*/ 805845 w 6094408"/>
              <a:gd name="connsiteY46" fmla="*/ 6524060 h 6857997"/>
              <a:gd name="connsiteX47" fmla="*/ 811799 w 6094408"/>
              <a:gd name="connsiteY47" fmla="*/ 6542674 h 6857997"/>
              <a:gd name="connsiteX48" fmla="*/ 833735 w 6094408"/>
              <a:gd name="connsiteY48" fmla="*/ 6542674 h 6857997"/>
              <a:gd name="connsiteX49" fmla="*/ 801269 w 6094408"/>
              <a:gd name="connsiteY49" fmla="*/ 6451543 h 6857997"/>
              <a:gd name="connsiteX50" fmla="*/ 604404 w 6094408"/>
              <a:gd name="connsiteY50" fmla="*/ 6451543 h 6857997"/>
              <a:gd name="connsiteX51" fmla="*/ 576137 w 6094408"/>
              <a:gd name="connsiteY51" fmla="*/ 6479246 h 6857997"/>
              <a:gd name="connsiteX52" fmla="*/ 604404 w 6094408"/>
              <a:gd name="connsiteY52" fmla="*/ 6505821 h 6857997"/>
              <a:gd name="connsiteX53" fmla="*/ 625964 w 6094408"/>
              <a:gd name="connsiteY53" fmla="*/ 6505821 h 6857997"/>
              <a:gd name="connsiteX54" fmla="*/ 634174 w 6094408"/>
              <a:gd name="connsiteY54" fmla="*/ 6514282 h 6857997"/>
              <a:gd name="connsiteX55" fmla="*/ 625964 w 6094408"/>
              <a:gd name="connsiteY55" fmla="*/ 6522743 h 6857997"/>
              <a:gd name="connsiteX56" fmla="*/ 579772 w 6094408"/>
              <a:gd name="connsiteY56" fmla="*/ 6522743 h 6857997"/>
              <a:gd name="connsiteX57" fmla="*/ 579772 w 6094408"/>
              <a:gd name="connsiteY57" fmla="*/ 6542674 h 6857997"/>
              <a:gd name="connsiteX58" fmla="*/ 625149 w 6094408"/>
              <a:gd name="connsiteY58" fmla="*/ 6542674 h 6857997"/>
              <a:gd name="connsiteX59" fmla="*/ 653792 w 6094408"/>
              <a:gd name="connsiteY59" fmla="*/ 6514282 h 6857997"/>
              <a:gd name="connsiteX60" fmla="*/ 629223 w 6094408"/>
              <a:gd name="connsiteY60" fmla="*/ 6487707 h 6857997"/>
              <a:gd name="connsiteX61" fmla="*/ 604404 w 6094408"/>
              <a:gd name="connsiteY61" fmla="*/ 6487707 h 6857997"/>
              <a:gd name="connsiteX62" fmla="*/ 595817 w 6094408"/>
              <a:gd name="connsiteY62" fmla="*/ 6479246 h 6857997"/>
              <a:gd name="connsiteX63" fmla="*/ 604404 w 6094408"/>
              <a:gd name="connsiteY63" fmla="*/ 6470785 h 6857997"/>
              <a:gd name="connsiteX64" fmla="*/ 647462 w 6094408"/>
              <a:gd name="connsiteY64" fmla="*/ 6470785 h 6857997"/>
              <a:gd name="connsiteX65" fmla="*/ 647462 w 6094408"/>
              <a:gd name="connsiteY65" fmla="*/ 6451543 h 6857997"/>
              <a:gd name="connsiteX66" fmla="*/ 1023956 w 6094408"/>
              <a:gd name="connsiteY66" fmla="*/ 6451480 h 6857997"/>
              <a:gd name="connsiteX67" fmla="*/ 1023956 w 6094408"/>
              <a:gd name="connsiteY67" fmla="*/ 6542674 h 6857997"/>
              <a:gd name="connsiteX68" fmla="*/ 1045016 w 6094408"/>
              <a:gd name="connsiteY68" fmla="*/ 6542674 h 6857997"/>
              <a:gd name="connsiteX69" fmla="*/ 1045016 w 6094408"/>
              <a:gd name="connsiteY69" fmla="*/ 6504191 h 6857997"/>
              <a:gd name="connsiteX70" fmla="*/ 1074975 w 6094408"/>
              <a:gd name="connsiteY70" fmla="*/ 6542674 h 6857997"/>
              <a:gd name="connsiteX71" fmla="*/ 1099481 w 6094408"/>
              <a:gd name="connsiteY71" fmla="*/ 6542674 h 6857997"/>
              <a:gd name="connsiteX72" fmla="*/ 1065009 w 6094408"/>
              <a:gd name="connsiteY72" fmla="*/ 6497109 h 6857997"/>
              <a:gd name="connsiteX73" fmla="*/ 1099481 w 6094408"/>
              <a:gd name="connsiteY73" fmla="*/ 6451480 h 6857997"/>
              <a:gd name="connsiteX74" fmla="*/ 1074975 w 6094408"/>
              <a:gd name="connsiteY74" fmla="*/ 6451480 h 6857997"/>
              <a:gd name="connsiteX75" fmla="*/ 1045016 w 6094408"/>
              <a:gd name="connsiteY75" fmla="*/ 6489963 h 6857997"/>
              <a:gd name="connsiteX76" fmla="*/ 1045016 w 6094408"/>
              <a:gd name="connsiteY76" fmla="*/ 6451480 h 6857997"/>
              <a:gd name="connsiteX77" fmla="*/ 666077 w 6094408"/>
              <a:gd name="connsiteY77" fmla="*/ 6451480 h 6857997"/>
              <a:gd name="connsiteX78" fmla="*/ 666077 w 6094408"/>
              <a:gd name="connsiteY78" fmla="*/ 6542674 h 6857997"/>
              <a:gd name="connsiteX79" fmla="*/ 687073 w 6094408"/>
              <a:gd name="connsiteY79" fmla="*/ 6542674 h 6857997"/>
              <a:gd name="connsiteX80" fmla="*/ 687073 w 6094408"/>
              <a:gd name="connsiteY80" fmla="*/ 6504191 h 6857997"/>
              <a:gd name="connsiteX81" fmla="*/ 717033 w 6094408"/>
              <a:gd name="connsiteY81" fmla="*/ 6542674 h 6857997"/>
              <a:gd name="connsiteX82" fmla="*/ 741602 w 6094408"/>
              <a:gd name="connsiteY82" fmla="*/ 6542674 h 6857997"/>
              <a:gd name="connsiteX83" fmla="*/ 707067 w 6094408"/>
              <a:gd name="connsiteY83" fmla="*/ 6497109 h 6857997"/>
              <a:gd name="connsiteX84" fmla="*/ 741602 w 6094408"/>
              <a:gd name="connsiteY84" fmla="*/ 6451480 h 6857997"/>
              <a:gd name="connsiteX85" fmla="*/ 717033 w 6094408"/>
              <a:gd name="connsiteY85" fmla="*/ 6451480 h 6857997"/>
              <a:gd name="connsiteX86" fmla="*/ 687073 w 6094408"/>
              <a:gd name="connsiteY86" fmla="*/ 6489963 h 6857997"/>
              <a:gd name="connsiteX87" fmla="*/ 687073 w 6094408"/>
              <a:gd name="connsiteY87" fmla="*/ 6451480 h 6857997"/>
              <a:gd name="connsiteX88" fmla="*/ 0 w 6094408"/>
              <a:gd name="connsiteY88" fmla="*/ 0 h 6857997"/>
              <a:gd name="connsiteX89" fmla="*/ 6094408 w 6094408"/>
              <a:gd name="connsiteY89" fmla="*/ 0 h 6857997"/>
              <a:gd name="connsiteX90" fmla="*/ 6094408 w 6094408"/>
              <a:gd name="connsiteY90" fmla="*/ 6857997 h 6857997"/>
              <a:gd name="connsiteX91" fmla="*/ 0 w 6094408"/>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4408"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6094408" y="0"/>
                </a:lnTo>
                <a:lnTo>
                  <a:pt x="6094408"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6" name="Picture Placeholder 13">
            <a:extLst>
              <a:ext uri="{FF2B5EF4-FFF2-40B4-BE49-F238E27FC236}">
                <a16:creationId xmlns:a16="http://schemas.microsoft.com/office/drawing/2014/main" id="{4112384D-AFE6-0044-8D33-BD96D1F23E2F}"/>
              </a:ext>
            </a:extLst>
          </p:cNvPr>
          <p:cNvSpPr>
            <a:spLocks noGrp="1"/>
          </p:cNvSpPr>
          <p:nvPr>
            <p:ph type="pic" sz="quarter" idx="19" hasCustomPrompt="1"/>
          </p:nvPr>
        </p:nvSpPr>
        <p:spPr>
          <a:xfrm>
            <a:off x="6098400"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7" name="Picture Placeholder 17">
            <a:extLst>
              <a:ext uri="{FF2B5EF4-FFF2-40B4-BE49-F238E27FC236}">
                <a16:creationId xmlns:a16="http://schemas.microsoft.com/office/drawing/2014/main" id="{ACAB582F-A4D3-6042-80E5-449FA4DD1AC0}"/>
              </a:ext>
            </a:extLst>
          </p:cNvPr>
          <p:cNvSpPr>
            <a:spLocks noGrp="1"/>
          </p:cNvSpPr>
          <p:nvPr>
            <p:ph type="pic" sz="quarter" idx="20" hasCustomPrompt="1"/>
          </p:nvPr>
        </p:nvSpPr>
        <p:spPr>
          <a:xfrm>
            <a:off x="6098400"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2" name="Text Placeholder 18">
            <a:extLst>
              <a:ext uri="{FF2B5EF4-FFF2-40B4-BE49-F238E27FC236}">
                <a16:creationId xmlns:a16="http://schemas.microsoft.com/office/drawing/2014/main" id="{1BB6EBC7-3CB0-7949-AB1F-7B011BF726B5}"/>
              </a:ext>
            </a:extLst>
          </p:cNvPr>
          <p:cNvSpPr>
            <a:spLocks noGrp="1"/>
          </p:cNvSpPr>
          <p:nvPr>
            <p:ph type="body" sz="quarter" idx="23" hasCustomPrompt="1"/>
          </p:nvPr>
        </p:nvSpPr>
        <p:spPr>
          <a:xfrm>
            <a:off x="-6151" y="3014721"/>
            <a:ext cx="6109247"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23" name="Text Placeholder 18">
            <a:extLst>
              <a:ext uri="{FF2B5EF4-FFF2-40B4-BE49-F238E27FC236}">
                <a16:creationId xmlns:a16="http://schemas.microsoft.com/office/drawing/2014/main" id="{1A6292A0-28D6-8F43-9A84-193B84BC52B2}"/>
              </a:ext>
            </a:extLst>
          </p:cNvPr>
          <p:cNvSpPr>
            <a:spLocks noGrp="1"/>
          </p:cNvSpPr>
          <p:nvPr>
            <p:ph type="body" sz="quarter" idx="24" hasCustomPrompt="1"/>
          </p:nvPr>
        </p:nvSpPr>
        <p:spPr>
          <a:xfrm>
            <a:off x="6102155" y="1300220"/>
            <a:ext cx="6105491"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24" name="Text Placeholder 18">
            <a:extLst>
              <a:ext uri="{FF2B5EF4-FFF2-40B4-BE49-F238E27FC236}">
                <a16:creationId xmlns:a16="http://schemas.microsoft.com/office/drawing/2014/main" id="{D141078C-5B10-0549-8F72-9894A9BF4F46}"/>
              </a:ext>
            </a:extLst>
          </p:cNvPr>
          <p:cNvSpPr>
            <a:spLocks noGrp="1"/>
          </p:cNvSpPr>
          <p:nvPr>
            <p:ph type="body" sz="quarter" idx="21" hasCustomPrompt="1"/>
          </p:nvPr>
        </p:nvSpPr>
        <p:spPr>
          <a:xfrm>
            <a:off x="6102156" y="4729219"/>
            <a:ext cx="6105490"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2" name="textruta 5">
            <a:extLst>
              <a:ext uri="{FF2B5EF4-FFF2-40B4-BE49-F238E27FC236}">
                <a16:creationId xmlns:a16="http://schemas.microsoft.com/office/drawing/2014/main" id="{BAE890E4-E523-6647-98A4-B32F05744FF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3" name="textruta 12">
            <a:extLst>
              <a:ext uri="{FF2B5EF4-FFF2-40B4-BE49-F238E27FC236}">
                <a16:creationId xmlns:a16="http://schemas.microsoft.com/office/drawing/2014/main" id="{11616D45-9A27-C34A-86FA-CB9409332032}"/>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ktangel 13">
            <a:extLst>
              <a:ext uri="{FF2B5EF4-FFF2-40B4-BE49-F238E27FC236}">
                <a16:creationId xmlns:a16="http://schemas.microsoft.com/office/drawing/2014/main" id="{F19A6BCC-975E-7545-BB3A-57857992C98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ktangel 14">
            <a:extLst>
              <a:ext uri="{FF2B5EF4-FFF2-40B4-BE49-F238E27FC236}">
                <a16:creationId xmlns:a16="http://schemas.microsoft.com/office/drawing/2014/main" id="{D6050EB3-8959-584C-BBC7-5A81E084A61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Platshållare för datum 3">
            <a:extLst>
              <a:ext uri="{FF2B5EF4-FFF2-40B4-BE49-F238E27FC236}">
                <a16:creationId xmlns:a16="http://schemas.microsoft.com/office/drawing/2014/main" id="{7274DBF8-BA28-BD43-A9B5-0497B225AD6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F6BF0478-BDCC-43AA-97AC-F0BD9C23443F}" type="datetime1">
              <a:rPr lang="en-US" smtClean="0"/>
              <a:t>11/1/2023</a:t>
            </a:fld>
            <a:endParaRPr lang="en-US"/>
          </a:p>
        </p:txBody>
      </p:sp>
      <p:sp>
        <p:nvSpPr>
          <p:cNvPr id="19" name="Platshållare för sidfot 4">
            <a:extLst>
              <a:ext uri="{FF2B5EF4-FFF2-40B4-BE49-F238E27FC236}">
                <a16:creationId xmlns:a16="http://schemas.microsoft.com/office/drawing/2014/main" id="{FE9EF8A8-2297-194D-8536-889E5D4E052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0" name="Platshållare för bildnummer 5">
            <a:extLst>
              <a:ext uri="{FF2B5EF4-FFF2-40B4-BE49-F238E27FC236}">
                <a16:creationId xmlns:a16="http://schemas.microsoft.com/office/drawing/2014/main" id="{65E7AF51-DAFE-9047-8450-28B0B3DE053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B38D1478-E2C4-9C47-9554-2B6F1BEF76AF}"/>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5" name="Text Placeholder 4">
            <a:extLst>
              <a:ext uri="{FF2B5EF4-FFF2-40B4-BE49-F238E27FC236}">
                <a16:creationId xmlns:a16="http://schemas.microsoft.com/office/drawing/2014/main" id="{968682EE-E62E-7F45-8D53-EA4C7D3E2A5B}"/>
              </a:ext>
            </a:extLst>
          </p:cNvPr>
          <p:cNvSpPr>
            <a:spLocks noGrp="1"/>
          </p:cNvSpPr>
          <p:nvPr>
            <p:ph type="body" sz="quarter" idx="25" hasCustomPrompt="1"/>
          </p:nvPr>
        </p:nvSpPr>
        <p:spPr>
          <a:xfrm rot="5400000">
            <a:off x="4818982"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A5503383-A8B0-564C-8751-AEE0A84AE6C3}"/>
              </a:ext>
            </a:extLst>
          </p:cNvPr>
          <p:cNvSpPr>
            <a:spLocks noGrp="1"/>
          </p:cNvSpPr>
          <p:nvPr>
            <p:ph type="body" sz="quarter" idx="26" hasCustomPrompt="1"/>
          </p:nvPr>
        </p:nvSpPr>
        <p:spPr>
          <a:xfrm rot="5400000">
            <a:off x="10901730" y="4232646"/>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4192418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 Four Images Icons">
    <p:bg>
      <p:bgPr>
        <a:solidFill>
          <a:schemeClr val="bg1"/>
        </a:solidFill>
        <a:effectLst/>
      </p:bgPr>
    </p:bg>
    <p:spTree>
      <p:nvGrpSpPr>
        <p:cNvPr id="1" name=""/>
        <p:cNvGrpSpPr/>
        <p:nvPr/>
      </p:nvGrpSpPr>
      <p:grpSpPr>
        <a:xfrm>
          <a:off x="0" y="0"/>
          <a:ext cx="0" cy="0"/>
          <a:chOff x="0" y="0"/>
          <a:chExt cx="0" cy="0"/>
        </a:xfrm>
      </p:grpSpPr>
      <p:sp>
        <p:nvSpPr>
          <p:cNvPr id="12" name="Picture Placeholder 28">
            <a:extLst>
              <a:ext uri="{FF2B5EF4-FFF2-40B4-BE49-F238E27FC236}">
                <a16:creationId xmlns:a16="http://schemas.microsoft.com/office/drawing/2014/main" id="{66A1736D-0DE2-E745-88D9-563B710EF5D1}"/>
              </a:ext>
            </a:extLst>
          </p:cNvPr>
          <p:cNvSpPr>
            <a:spLocks noGrp="1"/>
          </p:cNvSpPr>
          <p:nvPr>
            <p:ph type="pic" sz="quarter" idx="17" hasCustomPrompt="1"/>
          </p:nvPr>
        </p:nvSpPr>
        <p:spPr>
          <a:xfrm>
            <a:off x="4" y="3429002"/>
            <a:ext cx="6095996" cy="3428998"/>
          </a:xfrm>
          <a:custGeom>
            <a:avLst/>
            <a:gdLst>
              <a:gd name="connsiteX0" fmla="*/ 1146049 w 6095996"/>
              <a:gd name="connsiteY0" fmla="*/ 3041536 h 3428998"/>
              <a:gd name="connsiteX1" fmla="*/ 1157832 w 6095996"/>
              <a:gd name="connsiteY1" fmla="*/ 3076509 h 3428998"/>
              <a:gd name="connsiteX2" fmla="*/ 1134642 w 6095996"/>
              <a:gd name="connsiteY2" fmla="*/ 3076509 h 3428998"/>
              <a:gd name="connsiteX3" fmla="*/ 788169 w 6095996"/>
              <a:gd name="connsiteY3" fmla="*/ 3041536 h 3428998"/>
              <a:gd name="connsiteX4" fmla="*/ 799952 w 6095996"/>
              <a:gd name="connsiteY4" fmla="*/ 3076509 h 3428998"/>
              <a:gd name="connsiteX5" fmla="*/ 776762 w 6095996"/>
              <a:gd name="connsiteY5" fmla="*/ 3076509 h 3428998"/>
              <a:gd name="connsiteX6" fmla="*/ 1132323 w 6095996"/>
              <a:gd name="connsiteY6" fmla="*/ 3022545 h 3428998"/>
              <a:gd name="connsiteX7" fmla="*/ 1100859 w 6095996"/>
              <a:gd name="connsiteY7" fmla="*/ 3113676 h 3428998"/>
              <a:gd name="connsiteX8" fmla="*/ 1123109 w 6095996"/>
              <a:gd name="connsiteY8" fmla="*/ 3113676 h 3428998"/>
              <a:gd name="connsiteX9" fmla="*/ 1128876 w 6095996"/>
              <a:gd name="connsiteY9" fmla="*/ 3095062 h 3428998"/>
              <a:gd name="connsiteX10" fmla="*/ 1163786 w 6095996"/>
              <a:gd name="connsiteY10" fmla="*/ 3095062 h 3428998"/>
              <a:gd name="connsiteX11" fmla="*/ 1169740 w 6095996"/>
              <a:gd name="connsiteY11" fmla="*/ 3113676 h 3428998"/>
              <a:gd name="connsiteX12" fmla="*/ 1191614 w 6095996"/>
              <a:gd name="connsiteY12" fmla="*/ 3113676 h 3428998"/>
              <a:gd name="connsiteX13" fmla="*/ 1159148 w 6095996"/>
              <a:gd name="connsiteY13" fmla="*/ 3022545 h 3428998"/>
              <a:gd name="connsiteX14" fmla="*/ 961907 w 6095996"/>
              <a:gd name="connsiteY14" fmla="*/ 3022545 h 3428998"/>
              <a:gd name="connsiteX15" fmla="*/ 933640 w 6095996"/>
              <a:gd name="connsiteY15" fmla="*/ 3050248 h 3428998"/>
              <a:gd name="connsiteX16" fmla="*/ 961907 w 6095996"/>
              <a:gd name="connsiteY16" fmla="*/ 3076823 h 3428998"/>
              <a:gd name="connsiteX17" fmla="*/ 983467 w 6095996"/>
              <a:gd name="connsiteY17" fmla="*/ 3076823 h 3428998"/>
              <a:gd name="connsiteX18" fmla="*/ 991678 w 6095996"/>
              <a:gd name="connsiteY18" fmla="*/ 3085284 h 3428998"/>
              <a:gd name="connsiteX19" fmla="*/ 983467 w 6095996"/>
              <a:gd name="connsiteY19" fmla="*/ 3093745 h 3428998"/>
              <a:gd name="connsiteX20" fmla="*/ 937338 w 6095996"/>
              <a:gd name="connsiteY20" fmla="*/ 3093745 h 3428998"/>
              <a:gd name="connsiteX21" fmla="*/ 937338 w 6095996"/>
              <a:gd name="connsiteY21" fmla="*/ 3113676 h 3428998"/>
              <a:gd name="connsiteX22" fmla="*/ 982715 w 6095996"/>
              <a:gd name="connsiteY22" fmla="*/ 3113676 h 3428998"/>
              <a:gd name="connsiteX23" fmla="*/ 1011358 w 6095996"/>
              <a:gd name="connsiteY23" fmla="*/ 3085284 h 3428998"/>
              <a:gd name="connsiteX24" fmla="*/ 986727 w 6095996"/>
              <a:gd name="connsiteY24" fmla="*/ 3058709 h 3428998"/>
              <a:gd name="connsiteX25" fmla="*/ 961907 w 6095996"/>
              <a:gd name="connsiteY25" fmla="*/ 3058709 h 3428998"/>
              <a:gd name="connsiteX26" fmla="*/ 953320 w 6095996"/>
              <a:gd name="connsiteY26" fmla="*/ 3050248 h 3428998"/>
              <a:gd name="connsiteX27" fmla="*/ 961907 w 6095996"/>
              <a:gd name="connsiteY27" fmla="*/ 3041787 h 3428998"/>
              <a:gd name="connsiteX28" fmla="*/ 1004965 w 6095996"/>
              <a:gd name="connsiteY28" fmla="*/ 3041787 h 3428998"/>
              <a:gd name="connsiteX29" fmla="*/ 1004965 w 6095996"/>
              <a:gd name="connsiteY29" fmla="*/ 3022545 h 3428998"/>
              <a:gd name="connsiteX30" fmla="*/ 841570 w 6095996"/>
              <a:gd name="connsiteY30" fmla="*/ 3022545 h 3428998"/>
              <a:gd name="connsiteX31" fmla="*/ 841570 w 6095996"/>
              <a:gd name="connsiteY31" fmla="*/ 3113676 h 3428998"/>
              <a:gd name="connsiteX32" fmla="*/ 862691 w 6095996"/>
              <a:gd name="connsiteY32" fmla="*/ 3113676 h 3428998"/>
              <a:gd name="connsiteX33" fmla="*/ 862691 w 6095996"/>
              <a:gd name="connsiteY33" fmla="*/ 3057456 h 3428998"/>
              <a:gd name="connsiteX34" fmla="*/ 898981 w 6095996"/>
              <a:gd name="connsiteY34" fmla="*/ 3113488 h 3428998"/>
              <a:gd name="connsiteX35" fmla="*/ 898981 w 6095996"/>
              <a:gd name="connsiteY35" fmla="*/ 3113676 h 3428998"/>
              <a:gd name="connsiteX36" fmla="*/ 920855 w 6095996"/>
              <a:gd name="connsiteY36" fmla="*/ 3113676 h 3428998"/>
              <a:gd name="connsiteX37" fmla="*/ 920792 w 6095996"/>
              <a:gd name="connsiteY37" fmla="*/ 3093996 h 3428998"/>
              <a:gd name="connsiteX38" fmla="*/ 920667 w 6095996"/>
              <a:gd name="connsiteY38" fmla="*/ 3022545 h 3428998"/>
              <a:gd name="connsiteX39" fmla="*/ 899670 w 6095996"/>
              <a:gd name="connsiteY39" fmla="*/ 3022545 h 3428998"/>
              <a:gd name="connsiteX40" fmla="*/ 899670 w 6095996"/>
              <a:gd name="connsiteY40" fmla="*/ 3079831 h 3428998"/>
              <a:gd name="connsiteX41" fmla="*/ 863067 w 6095996"/>
              <a:gd name="connsiteY41" fmla="*/ 3022545 h 3428998"/>
              <a:gd name="connsiteX42" fmla="*/ 774443 w 6095996"/>
              <a:gd name="connsiteY42" fmla="*/ 3022545 h 3428998"/>
              <a:gd name="connsiteX43" fmla="*/ 742918 w 6095996"/>
              <a:gd name="connsiteY43" fmla="*/ 3113676 h 3428998"/>
              <a:gd name="connsiteX44" fmla="*/ 765167 w 6095996"/>
              <a:gd name="connsiteY44" fmla="*/ 3113676 h 3428998"/>
              <a:gd name="connsiteX45" fmla="*/ 770934 w 6095996"/>
              <a:gd name="connsiteY45" fmla="*/ 3095062 h 3428998"/>
              <a:gd name="connsiteX46" fmla="*/ 805844 w 6095996"/>
              <a:gd name="connsiteY46" fmla="*/ 3095062 h 3428998"/>
              <a:gd name="connsiteX47" fmla="*/ 811798 w 6095996"/>
              <a:gd name="connsiteY47" fmla="*/ 3113676 h 3428998"/>
              <a:gd name="connsiteX48" fmla="*/ 833735 w 6095996"/>
              <a:gd name="connsiteY48" fmla="*/ 3113676 h 3428998"/>
              <a:gd name="connsiteX49" fmla="*/ 801269 w 6095996"/>
              <a:gd name="connsiteY49" fmla="*/ 3022545 h 3428998"/>
              <a:gd name="connsiteX50" fmla="*/ 604403 w 6095996"/>
              <a:gd name="connsiteY50" fmla="*/ 3022545 h 3428998"/>
              <a:gd name="connsiteX51" fmla="*/ 576136 w 6095996"/>
              <a:gd name="connsiteY51" fmla="*/ 3050248 h 3428998"/>
              <a:gd name="connsiteX52" fmla="*/ 604403 w 6095996"/>
              <a:gd name="connsiteY52" fmla="*/ 3076823 h 3428998"/>
              <a:gd name="connsiteX53" fmla="*/ 625964 w 6095996"/>
              <a:gd name="connsiteY53" fmla="*/ 3076823 h 3428998"/>
              <a:gd name="connsiteX54" fmla="*/ 634174 w 6095996"/>
              <a:gd name="connsiteY54" fmla="*/ 3085284 h 3428998"/>
              <a:gd name="connsiteX55" fmla="*/ 625964 w 6095996"/>
              <a:gd name="connsiteY55" fmla="*/ 3093745 h 3428998"/>
              <a:gd name="connsiteX56" fmla="*/ 579772 w 6095996"/>
              <a:gd name="connsiteY56" fmla="*/ 3093745 h 3428998"/>
              <a:gd name="connsiteX57" fmla="*/ 579772 w 6095996"/>
              <a:gd name="connsiteY57" fmla="*/ 3113676 h 3428998"/>
              <a:gd name="connsiteX58" fmla="*/ 625149 w 6095996"/>
              <a:gd name="connsiteY58" fmla="*/ 3113676 h 3428998"/>
              <a:gd name="connsiteX59" fmla="*/ 653792 w 6095996"/>
              <a:gd name="connsiteY59" fmla="*/ 3085284 h 3428998"/>
              <a:gd name="connsiteX60" fmla="*/ 629223 w 6095996"/>
              <a:gd name="connsiteY60" fmla="*/ 3058709 h 3428998"/>
              <a:gd name="connsiteX61" fmla="*/ 604403 w 6095996"/>
              <a:gd name="connsiteY61" fmla="*/ 3058709 h 3428998"/>
              <a:gd name="connsiteX62" fmla="*/ 595817 w 6095996"/>
              <a:gd name="connsiteY62" fmla="*/ 3050248 h 3428998"/>
              <a:gd name="connsiteX63" fmla="*/ 604403 w 6095996"/>
              <a:gd name="connsiteY63" fmla="*/ 3041787 h 3428998"/>
              <a:gd name="connsiteX64" fmla="*/ 647461 w 6095996"/>
              <a:gd name="connsiteY64" fmla="*/ 3041787 h 3428998"/>
              <a:gd name="connsiteX65" fmla="*/ 647461 w 6095996"/>
              <a:gd name="connsiteY65" fmla="*/ 3022545 h 3428998"/>
              <a:gd name="connsiteX66" fmla="*/ 1023956 w 6095996"/>
              <a:gd name="connsiteY66" fmla="*/ 3022482 h 3428998"/>
              <a:gd name="connsiteX67" fmla="*/ 1023956 w 6095996"/>
              <a:gd name="connsiteY67" fmla="*/ 3113676 h 3428998"/>
              <a:gd name="connsiteX68" fmla="*/ 1045015 w 6095996"/>
              <a:gd name="connsiteY68" fmla="*/ 3113676 h 3428998"/>
              <a:gd name="connsiteX69" fmla="*/ 1045015 w 6095996"/>
              <a:gd name="connsiteY69" fmla="*/ 3075193 h 3428998"/>
              <a:gd name="connsiteX70" fmla="*/ 1074975 w 6095996"/>
              <a:gd name="connsiteY70" fmla="*/ 3113676 h 3428998"/>
              <a:gd name="connsiteX71" fmla="*/ 1099481 w 6095996"/>
              <a:gd name="connsiteY71" fmla="*/ 3113676 h 3428998"/>
              <a:gd name="connsiteX72" fmla="*/ 1065009 w 6095996"/>
              <a:gd name="connsiteY72" fmla="*/ 3068111 h 3428998"/>
              <a:gd name="connsiteX73" fmla="*/ 1099481 w 6095996"/>
              <a:gd name="connsiteY73" fmla="*/ 3022482 h 3428998"/>
              <a:gd name="connsiteX74" fmla="*/ 1074975 w 6095996"/>
              <a:gd name="connsiteY74" fmla="*/ 3022482 h 3428998"/>
              <a:gd name="connsiteX75" fmla="*/ 1045015 w 6095996"/>
              <a:gd name="connsiteY75" fmla="*/ 3060965 h 3428998"/>
              <a:gd name="connsiteX76" fmla="*/ 1045015 w 6095996"/>
              <a:gd name="connsiteY76" fmla="*/ 3022482 h 3428998"/>
              <a:gd name="connsiteX77" fmla="*/ 666076 w 6095996"/>
              <a:gd name="connsiteY77" fmla="*/ 3022482 h 3428998"/>
              <a:gd name="connsiteX78" fmla="*/ 666076 w 6095996"/>
              <a:gd name="connsiteY78" fmla="*/ 3113676 h 3428998"/>
              <a:gd name="connsiteX79" fmla="*/ 687073 w 6095996"/>
              <a:gd name="connsiteY79" fmla="*/ 3113676 h 3428998"/>
              <a:gd name="connsiteX80" fmla="*/ 687073 w 6095996"/>
              <a:gd name="connsiteY80" fmla="*/ 3075193 h 3428998"/>
              <a:gd name="connsiteX81" fmla="*/ 717032 w 6095996"/>
              <a:gd name="connsiteY81" fmla="*/ 3113676 h 3428998"/>
              <a:gd name="connsiteX82" fmla="*/ 741601 w 6095996"/>
              <a:gd name="connsiteY82" fmla="*/ 3113676 h 3428998"/>
              <a:gd name="connsiteX83" fmla="*/ 707067 w 6095996"/>
              <a:gd name="connsiteY83" fmla="*/ 3068111 h 3428998"/>
              <a:gd name="connsiteX84" fmla="*/ 741601 w 6095996"/>
              <a:gd name="connsiteY84" fmla="*/ 3022482 h 3428998"/>
              <a:gd name="connsiteX85" fmla="*/ 717032 w 6095996"/>
              <a:gd name="connsiteY85" fmla="*/ 3022482 h 3428998"/>
              <a:gd name="connsiteX86" fmla="*/ 687073 w 6095996"/>
              <a:gd name="connsiteY86" fmla="*/ 3060965 h 3428998"/>
              <a:gd name="connsiteX87" fmla="*/ 687073 w 6095996"/>
              <a:gd name="connsiteY87" fmla="*/ 3022482 h 3428998"/>
              <a:gd name="connsiteX88" fmla="*/ 0 w 6095996"/>
              <a:gd name="connsiteY88" fmla="*/ 0 h 3428998"/>
              <a:gd name="connsiteX89" fmla="*/ 6095996 w 6095996"/>
              <a:gd name="connsiteY89" fmla="*/ 0 h 3428998"/>
              <a:gd name="connsiteX90" fmla="*/ 6095996 w 6095996"/>
              <a:gd name="connsiteY90" fmla="*/ 3428998 h 3428998"/>
              <a:gd name="connsiteX91" fmla="*/ 0 w 6095996"/>
              <a:gd name="connsiteY91" fmla="*/ 3428998 h 342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5996" h="3428998">
                <a:moveTo>
                  <a:pt x="1146049" y="3041536"/>
                </a:moveTo>
                <a:lnTo>
                  <a:pt x="1157832" y="3076509"/>
                </a:lnTo>
                <a:lnTo>
                  <a:pt x="1134642" y="3076509"/>
                </a:lnTo>
                <a:close/>
                <a:moveTo>
                  <a:pt x="788169" y="3041536"/>
                </a:moveTo>
                <a:lnTo>
                  <a:pt x="799952" y="3076509"/>
                </a:lnTo>
                <a:lnTo>
                  <a:pt x="776762" y="3076509"/>
                </a:lnTo>
                <a:close/>
                <a:moveTo>
                  <a:pt x="1132323" y="3022545"/>
                </a:moveTo>
                <a:lnTo>
                  <a:pt x="1100859" y="3113676"/>
                </a:lnTo>
                <a:lnTo>
                  <a:pt x="1123109" y="3113676"/>
                </a:lnTo>
                <a:lnTo>
                  <a:pt x="1128876" y="3095062"/>
                </a:lnTo>
                <a:lnTo>
                  <a:pt x="1163786" y="3095062"/>
                </a:lnTo>
                <a:lnTo>
                  <a:pt x="1169740" y="3113676"/>
                </a:lnTo>
                <a:lnTo>
                  <a:pt x="1191614" y="3113676"/>
                </a:lnTo>
                <a:lnTo>
                  <a:pt x="1159148" y="3022545"/>
                </a:lnTo>
                <a:close/>
                <a:moveTo>
                  <a:pt x="961907" y="3022545"/>
                </a:moveTo>
                <a:cubicBezTo>
                  <a:pt x="944358" y="3022545"/>
                  <a:pt x="933640" y="3032824"/>
                  <a:pt x="933640" y="3050248"/>
                </a:cubicBezTo>
                <a:cubicBezTo>
                  <a:pt x="933640" y="3067672"/>
                  <a:pt x="945987" y="3076823"/>
                  <a:pt x="961907" y="3076823"/>
                </a:cubicBezTo>
                <a:lnTo>
                  <a:pt x="983467" y="3076823"/>
                </a:lnTo>
                <a:cubicBezTo>
                  <a:pt x="988920" y="3076823"/>
                  <a:pt x="991678" y="3080959"/>
                  <a:pt x="991678" y="3085284"/>
                </a:cubicBezTo>
                <a:cubicBezTo>
                  <a:pt x="991678" y="3089734"/>
                  <a:pt x="988920" y="3093745"/>
                  <a:pt x="983467" y="3093745"/>
                </a:cubicBezTo>
                <a:lnTo>
                  <a:pt x="937338" y="3093745"/>
                </a:lnTo>
                <a:lnTo>
                  <a:pt x="937338" y="3113676"/>
                </a:lnTo>
                <a:lnTo>
                  <a:pt x="982715" y="3113676"/>
                </a:lnTo>
                <a:cubicBezTo>
                  <a:pt x="1000703" y="3113676"/>
                  <a:pt x="1011358" y="3103774"/>
                  <a:pt x="1011358" y="3085284"/>
                </a:cubicBezTo>
                <a:cubicBezTo>
                  <a:pt x="1011358" y="3068612"/>
                  <a:pt x="1000641" y="3058709"/>
                  <a:pt x="986727" y="3058709"/>
                </a:cubicBezTo>
                <a:lnTo>
                  <a:pt x="961907" y="3058709"/>
                </a:lnTo>
                <a:cubicBezTo>
                  <a:pt x="956078" y="3058709"/>
                  <a:pt x="953320" y="3054698"/>
                  <a:pt x="953320" y="3050248"/>
                </a:cubicBezTo>
                <a:cubicBezTo>
                  <a:pt x="953320" y="3045798"/>
                  <a:pt x="956078" y="3041787"/>
                  <a:pt x="961907" y="3041787"/>
                </a:cubicBezTo>
                <a:lnTo>
                  <a:pt x="1004965" y="3041787"/>
                </a:lnTo>
                <a:lnTo>
                  <a:pt x="1004965" y="3022545"/>
                </a:lnTo>
                <a:close/>
                <a:moveTo>
                  <a:pt x="841570" y="3022545"/>
                </a:moveTo>
                <a:lnTo>
                  <a:pt x="841570" y="3113676"/>
                </a:lnTo>
                <a:lnTo>
                  <a:pt x="862691" y="3113676"/>
                </a:lnTo>
                <a:lnTo>
                  <a:pt x="862691" y="3057456"/>
                </a:lnTo>
                <a:lnTo>
                  <a:pt x="898981" y="3113488"/>
                </a:lnTo>
                <a:lnTo>
                  <a:pt x="898981" y="3113676"/>
                </a:lnTo>
                <a:lnTo>
                  <a:pt x="920855" y="3113676"/>
                </a:lnTo>
                <a:lnTo>
                  <a:pt x="920792" y="3093996"/>
                </a:lnTo>
                <a:lnTo>
                  <a:pt x="920667" y="3022545"/>
                </a:lnTo>
                <a:lnTo>
                  <a:pt x="899670" y="3022545"/>
                </a:lnTo>
                <a:lnTo>
                  <a:pt x="899670" y="3079831"/>
                </a:lnTo>
                <a:lnTo>
                  <a:pt x="863067" y="3022545"/>
                </a:lnTo>
                <a:close/>
                <a:moveTo>
                  <a:pt x="774443" y="3022545"/>
                </a:moveTo>
                <a:lnTo>
                  <a:pt x="742918" y="3113676"/>
                </a:lnTo>
                <a:lnTo>
                  <a:pt x="765167" y="3113676"/>
                </a:lnTo>
                <a:lnTo>
                  <a:pt x="770934" y="3095062"/>
                </a:lnTo>
                <a:lnTo>
                  <a:pt x="805844" y="3095062"/>
                </a:lnTo>
                <a:lnTo>
                  <a:pt x="811798" y="3113676"/>
                </a:lnTo>
                <a:lnTo>
                  <a:pt x="833735" y="3113676"/>
                </a:lnTo>
                <a:lnTo>
                  <a:pt x="801269" y="3022545"/>
                </a:lnTo>
                <a:close/>
                <a:moveTo>
                  <a:pt x="604403" y="3022545"/>
                </a:moveTo>
                <a:cubicBezTo>
                  <a:pt x="586791" y="3022545"/>
                  <a:pt x="576136" y="3032824"/>
                  <a:pt x="576136" y="3050248"/>
                </a:cubicBezTo>
                <a:cubicBezTo>
                  <a:pt x="576136" y="3067672"/>
                  <a:pt x="588484" y="3076823"/>
                  <a:pt x="604403" y="3076823"/>
                </a:cubicBezTo>
                <a:lnTo>
                  <a:pt x="625964" y="3076823"/>
                </a:lnTo>
                <a:cubicBezTo>
                  <a:pt x="631416" y="3076823"/>
                  <a:pt x="634174" y="3080959"/>
                  <a:pt x="634174" y="3085284"/>
                </a:cubicBezTo>
                <a:cubicBezTo>
                  <a:pt x="634174" y="3089734"/>
                  <a:pt x="631416" y="3093745"/>
                  <a:pt x="625964" y="3093745"/>
                </a:cubicBezTo>
                <a:lnTo>
                  <a:pt x="579772" y="3093745"/>
                </a:lnTo>
                <a:lnTo>
                  <a:pt x="579772" y="3113676"/>
                </a:lnTo>
                <a:lnTo>
                  <a:pt x="625149" y="3113676"/>
                </a:lnTo>
                <a:cubicBezTo>
                  <a:pt x="643137" y="3113676"/>
                  <a:pt x="653792" y="3103774"/>
                  <a:pt x="653792" y="3085284"/>
                </a:cubicBezTo>
                <a:cubicBezTo>
                  <a:pt x="653792" y="3068612"/>
                  <a:pt x="643137" y="3058709"/>
                  <a:pt x="629223" y="3058709"/>
                </a:cubicBezTo>
                <a:lnTo>
                  <a:pt x="604403" y="3058709"/>
                </a:lnTo>
                <a:cubicBezTo>
                  <a:pt x="598574" y="3058709"/>
                  <a:pt x="595817" y="3054698"/>
                  <a:pt x="595817" y="3050248"/>
                </a:cubicBezTo>
                <a:cubicBezTo>
                  <a:pt x="595817" y="3045798"/>
                  <a:pt x="598574" y="3041787"/>
                  <a:pt x="604403" y="3041787"/>
                </a:cubicBezTo>
                <a:lnTo>
                  <a:pt x="647461" y="3041787"/>
                </a:lnTo>
                <a:lnTo>
                  <a:pt x="647461" y="3022545"/>
                </a:lnTo>
                <a:close/>
                <a:moveTo>
                  <a:pt x="1023956" y="3022482"/>
                </a:moveTo>
                <a:lnTo>
                  <a:pt x="1023956" y="3113676"/>
                </a:lnTo>
                <a:lnTo>
                  <a:pt x="1045015" y="3113676"/>
                </a:lnTo>
                <a:lnTo>
                  <a:pt x="1045015" y="3075193"/>
                </a:lnTo>
                <a:lnTo>
                  <a:pt x="1074975" y="3113676"/>
                </a:lnTo>
                <a:lnTo>
                  <a:pt x="1099481" y="3113676"/>
                </a:lnTo>
                <a:lnTo>
                  <a:pt x="1065009" y="3068111"/>
                </a:lnTo>
                <a:lnTo>
                  <a:pt x="1099481" y="3022482"/>
                </a:lnTo>
                <a:lnTo>
                  <a:pt x="1074975" y="3022482"/>
                </a:lnTo>
                <a:lnTo>
                  <a:pt x="1045015" y="3060965"/>
                </a:lnTo>
                <a:lnTo>
                  <a:pt x="1045015" y="3022482"/>
                </a:lnTo>
                <a:close/>
                <a:moveTo>
                  <a:pt x="666076" y="3022482"/>
                </a:moveTo>
                <a:lnTo>
                  <a:pt x="666076" y="3113676"/>
                </a:lnTo>
                <a:lnTo>
                  <a:pt x="687073" y="3113676"/>
                </a:lnTo>
                <a:lnTo>
                  <a:pt x="687073" y="3075193"/>
                </a:lnTo>
                <a:lnTo>
                  <a:pt x="717032" y="3113676"/>
                </a:lnTo>
                <a:lnTo>
                  <a:pt x="741601" y="3113676"/>
                </a:lnTo>
                <a:lnTo>
                  <a:pt x="707067" y="3068111"/>
                </a:lnTo>
                <a:lnTo>
                  <a:pt x="741601" y="3022482"/>
                </a:lnTo>
                <a:lnTo>
                  <a:pt x="717032" y="3022482"/>
                </a:lnTo>
                <a:lnTo>
                  <a:pt x="687073" y="3060965"/>
                </a:lnTo>
                <a:lnTo>
                  <a:pt x="687073" y="3022482"/>
                </a:lnTo>
                <a:close/>
                <a:moveTo>
                  <a:pt x="0" y="0"/>
                </a:moveTo>
                <a:lnTo>
                  <a:pt x="6095996" y="0"/>
                </a:lnTo>
                <a:lnTo>
                  <a:pt x="6095996"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3" name="Picture Placeholder 17">
            <a:extLst>
              <a:ext uri="{FF2B5EF4-FFF2-40B4-BE49-F238E27FC236}">
                <a16:creationId xmlns:a16="http://schemas.microsoft.com/office/drawing/2014/main" id="{F6D91FA2-3158-514E-AC7C-830A94A59D60}"/>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0" name="Picture Placeholder 11">
            <a:extLst>
              <a:ext uri="{FF2B5EF4-FFF2-40B4-BE49-F238E27FC236}">
                <a16:creationId xmlns:a16="http://schemas.microsoft.com/office/drawing/2014/main" id="{1B7FC29D-F898-3A44-989C-87EB7E0AE74E}"/>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1" name="Picture Placeholder 13">
            <a:extLst>
              <a:ext uri="{FF2B5EF4-FFF2-40B4-BE49-F238E27FC236}">
                <a16:creationId xmlns:a16="http://schemas.microsoft.com/office/drawing/2014/main" id="{F7C6A77F-C0D1-A44A-862B-B2F2882592E3}"/>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4" name="Picture Placeholder 4">
            <a:extLst>
              <a:ext uri="{FF2B5EF4-FFF2-40B4-BE49-F238E27FC236}">
                <a16:creationId xmlns:a16="http://schemas.microsoft.com/office/drawing/2014/main" id="{81D91098-732B-074B-B219-BF059229333C}"/>
              </a:ext>
            </a:extLst>
          </p:cNvPr>
          <p:cNvSpPr>
            <a:spLocks noGrp="1"/>
          </p:cNvSpPr>
          <p:nvPr>
            <p:ph type="pic" sz="quarter" idx="39" hasCustomPrompt="1"/>
          </p:nvPr>
        </p:nvSpPr>
        <p:spPr>
          <a:xfrm>
            <a:off x="2058068" y="800102"/>
            <a:ext cx="1979867" cy="1828800"/>
          </a:xfrm>
        </p:spPr>
        <p:txBody>
          <a:bodyPr/>
          <a:lstStyle>
            <a:lvl1pPr marL="12700" indent="0" algn="ctr">
              <a:buNone/>
              <a:defRPr sz="1300">
                <a:solidFill>
                  <a:schemeClr val="tx2"/>
                </a:solidFill>
              </a:defRPr>
            </a:lvl1pPr>
          </a:lstStyle>
          <a:p>
            <a:r>
              <a:rPr lang="en-US" noProof="0"/>
              <a:t>Click to add icon</a:t>
            </a:r>
          </a:p>
        </p:txBody>
      </p:sp>
      <p:sp>
        <p:nvSpPr>
          <p:cNvPr id="15" name="Picture Placeholder 4">
            <a:extLst>
              <a:ext uri="{FF2B5EF4-FFF2-40B4-BE49-F238E27FC236}">
                <a16:creationId xmlns:a16="http://schemas.microsoft.com/office/drawing/2014/main" id="{71F87AE1-7112-F54A-A977-6BBBC300F50F}"/>
              </a:ext>
            </a:extLst>
          </p:cNvPr>
          <p:cNvSpPr>
            <a:spLocks noGrp="1"/>
          </p:cNvSpPr>
          <p:nvPr>
            <p:ph type="pic" sz="quarter" idx="40" hasCustomPrompt="1"/>
          </p:nvPr>
        </p:nvSpPr>
        <p:spPr>
          <a:xfrm>
            <a:off x="2058069" y="4229101"/>
            <a:ext cx="1979867" cy="1828800"/>
          </a:xfrm>
        </p:spPr>
        <p:txBody>
          <a:bodyPr/>
          <a:lstStyle>
            <a:lvl1pPr marL="12700" indent="0" algn="ctr">
              <a:buNone/>
              <a:defRPr sz="1300">
                <a:solidFill>
                  <a:schemeClr val="tx2"/>
                </a:solidFill>
              </a:defRPr>
            </a:lvl1pPr>
          </a:lstStyle>
          <a:p>
            <a:r>
              <a:rPr lang="en-US" noProof="0"/>
              <a:t>Click to add icon</a:t>
            </a:r>
          </a:p>
        </p:txBody>
      </p:sp>
      <p:sp>
        <p:nvSpPr>
          <p:cNvPr id="18" name="Picture Placeholder 4">
            <a:extLst>
              <a:ext uri="{FF2B5EF4-FFF2-40B4-BE49-F238E27FC236}">
                <a16:creationId xmlns:a16="http://schemas.microsoft.com/office/drawing/2014/main" id="{19DE4C17-73C1-B043-AFB8-39C52FFF977C}"/>
              </a:ext>
            </a:extLst>
          </p:cNvPr>
          <p:cNvSpPr>
            <a:spLocks noGrp="1"/>
          </p:cNvSpPr>
          <p:nvPr>
            <p:ph type="pic" sz="quarter" idx="41" hasCustomPrompt="1"/>
          </p:nvPr>
        </p:nvSpPr>
        <p:spPr>
          <a:xfrm>
            <a:off x="8154622" y="800102"/>
            <a:ext cx="1979867" cy="1828800"/>
          </a:xfrm>
        </p:spPr>
        <p:txBody>
          <a:bodyPr/>
          <a:lstStyle>
            <a:lvl1pPr marL="12700" indent="0" algn="ctr">
              <a:buNone/>
              <a:defRPr sz="1300">
                <a:solidFill>
                  <a:schemeClr val="tx2"/>
                </a:solidFill>
              </a:defRPr>
            </a:lvl1pPr>
          </a:lstStyle>
          <a:p>
            <a:r>
              <a:rPr lang="en-US" noProof="0"/>
              <a:t>Click to add icon</a:t>
            </a:r>
          </a:p>
        </p:txBody>
      </p:sp>
      <p:sp>
        <p:nvSpPr>
          <p:cNvPr id="19" name="Picture Placeholder 4">
            <a:extLst>
              <a:ext uri="{FF2B5EF4-FFF2-40B4-BE49-F238E27FC236}">
                <a16:creationId xmlns:a16="http://schemas.microsoft.com/office/drawing/2014/main" id="{9EAD56EA-10D4-4F4A-832B-AA6DC1EA75DB}"/>
              </a:ext>
            </a:extLst>
          </p:cNvPr>
          <p:cNvSpPr>
            <a:spLocks noGrp="1"/>
          </p:cNvSpPr>
          <p:nvPr>
            <p:ph type="pic" sz="quarter" idx="42" hasCustomPrompt="1"/>
          </p:nvPr>
        </p:nvSpPr>
        <p:spPr>
          <a:xfrm>
            <a:off x="8154622" y="4229101"/>
            <a:ext cx="1979867" cy="1828800"/>
          </a:xfrm>
        </p:spPr>
        <p:txBody>
          <a:bodyPr/>
          <a:lstStyle>
            <a:lvl1pPr marL="12700" indent="0" algn="ctr">
              <a:buNone/>
              <a:defRPr sz="1300">
                <a:solidFill>
                  <a:schemeClr val="tx2"/>
                </a:solidFill>
              </a:defRPr>
            </a:lvl1pPr>
          </a:lstStyle>
          <a:p>
            <a:r>
              <a:rPr lang="en-US" noProof="0"/>
              <a:t>Click to add icon</a:t>
            </a:r>
          </a:p>
        </p:txBody>
      </p:sp>
      <p:sp>
        <p:nvSpPr>
          <p:cNvPr id="21" name="textruta 5">
            <a:extLst>
              <a:ext uri="{FF2B5EF4-FFF2-40B4-BE49-F238E27FC236}">
                <a16:creationId xmlns:a16="http://schemas.microsoft.com/office/drawing/2014/main" id="{A867E855-1CA1-124C-A73A-4577E63450A5}"/>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22" name="textruta 21">
            <a:extLst>
              <a:ext uri="{FF2B5EF4-FFF2-40B4-BE49-F238E27FC236}">
                <a16:creationId xmlns:a16="http://schemas.microsoft.com/office/drawing/2014/main" id="{5C3A5ECD-B09B-A84A-8F8E-F03DFD78108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23" name="Rektangel 22">
            <a:extLst>
              <a:ext uri="{FF2B5EF4-FFF2-40B4-BE49-F238E27FC236}">
                <a16:creationId xmlns:a16="http://schemas.microsoft.com/office/drawing/2014/main" id="{D93BA509-6EA5-E74C-96F8-12235769CEB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4" name="Rektangel 23">
            <a:extLst>
              <a:ext uri="{FF2B5EF4-FFF2-40B4-BE49-F238E27FC236}">
                <a16:creationId xmlns:a16="http://schemas.microsoft.com/office/drawing/2014/main" id="{FB1B6B98-C666-824F-AC61-3E64E1ECD82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5" name="Platshållare för datum 3">
            <a:extLst>
              <a:ext uri="{FF2B5EF4-FFF2-40B4-BE49-F238E27FC236}">
                <a16:creationId xmlns:a16="http://schemas.microsoft.com/office/drawing/2014/main" id="{AB7A9C74-9AB2-BB49-869A-0162E88878E6}"/>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1F24DCF9-A496-4A96-A92A-B1527B4BDFE9}" type="datetime1">
              <a:rPr lang="en-US" smtClean="0"/>
              <a:t>11/1/2023</a:t>
            </a:fld>
            <a:endParaRPr lang="en-US"/>
          </a:p>
        </p:txBody>
      </p:sp>
      <p:sp>
        <p:nvSpPr>
          <p:cNvPr id="26" name="Platshållare för sidfot 4">
            <a:extLst>
              <a:ext uri="{FF2B5EF4-FFF2-40B4-BE49-F238E27FC236}">
                <a16:creationId xmlns:a16="http://schemas.microsoft.com/office/drawing/2014/main" id="{C32F7104-2978-1146-B115-B3C3ABC66A81}"/>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7" name="Platshållare för bildnummer 5">
            <a:extLst>
              <a:ext uri="{FF2B5EF4-FFF2-40B4-BE49-F238E27FC236}">
                <a16:creationId xmlns:a16="http://schemas.microsoft.com/office/drawing/2014/main" id="{0D35DA1E-AB9D-5147-A3BA-2D38678EF3C2}"/>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3606760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Two Images Graphic">
    <p:bg>
      <p:bgPr>
        <a:solidFill>
          <a:schemeClr val="bg1"/>
        </a:solidFill>
        <a:effectLst/>
      </p:bgPr>
    </p:bg>
    <p:spTree>
      <p:nvGrpSpPr>
        <p:cNvPr id="1" name=""/>
        <p:cNvGrpSpPr/>
        <p:nvPr/>
      </p:nvGrpSpPr>
      <p:grpSpPr>
        <a:xfrm>
          <a:off x="0" y="0"/>
          <a:ext cx="0" cy="0"/>
          <a:chOff x="0" y="0"/>
          <a:chExt cx="0" cy="0"/>
        </a:xfrm>
      </p:grpSpPr>
      <p:sp>
        <p:nvSpPr>
          <p:cNvPr id="16" name="Picture Placeholder 13">
            <a:extLst>
              <a:ext uri="{FF2B5EF4-FFF2-40B4-BE49-F238E27FC236}">
                <a16:creationId xmlns:a16="http://schemas.microsoft.com/office/drawing/2014/main" id="{4112384D-AFE6-0044-8D33-BD96D1F23E2F}"/>
              </a:ext>
            </a:extLst>
          </p:cNvPr>
          <p:cNvSpPr>
            <a:spLocks noGrp="1"/>
          </p:cNvSpPr>
          <p:nvPr>
            <p:ph type="pic" sz="quarter" idx="19" hasCustomPrompt="1"/>
          </p:nvPr>
        </p:nvSpPr>
        <p:spPr>
          <a:xfrm>
            <a:off x="610652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en-GB"/>
              <a:t>Click on the icon to add an image</a:t>
            </a:r>
          </a:p>
        </p:txBody>
      </p:sp>
      <p:sp>
        <p:nvSpPr>
          <p:cNvPr id="2" name="Date Placeholder 1">
            <a:extLst>
              <a:ext uri="{FF2B5EF4-FFF2-40B4-BE49-F238E27FC236}">
                <a16:creationId xmlns:a16="http://schemas.microsoft.com/office/drawing/2014/main" id="{CB933F6B-2C2A-DB4E-8D3A-6DB67A584F23}"/>
              </a:ext>
            </a:extLst>
          </p:cNvPr>
          <p:cNvSpPr>
            <a:spLocks noGrp="1"/>
          </p:cNvSpPr>
          <p:nvPr>
            <p:ph type="dt" sz="half" idx="16"/>
          </p:nvPr>
        </p:nvSpPr>
        <p:spPr>
          <a:xfrm>
            <a:off x="2185246" y="6453942"/>
            <a:ext cx="1878120" cy="112593"/>
          </a:xfrm>
          <a:prstGeom prst="rect">
            <a:avLst/>
          </a:prstGeom>
        </p:spPr>
        <p:txBody>
          <a:bodyPr/>
          <a:lstStyle>
            <a:lvl1pPr>
              <a:defRPr>
                <a:solidFill>
                  <a:schemeClr val="bg1"/>
                </a:solidFill>
              </a:defRPr>
            </a:lvl1pPr>
          </a:lstStyle>
          <a:p>
            <a:fld id="{37DBD5A1-C998-482F-A9AB-D990A525CCD8}" type="datetime1">
              <a:rPr lang="en-US" smtClean="0"/>
              <a:t>11/1/2023</a:t>
            </a:fld>
            <a:endParaRPr lang="en-US"/>
          </a:p>
        </p:txBody>
      </p:sp>
      <p:sp>
        <p:nvSpPr>
          <p:cNvPr id="13" name="Picture Placeholder 12">
            <a:extLst>
              <a:ext uri="{FF2B5EF4-FFF2-40B4-BE49-F238E27FC236}">
                <a16:creationId xmlns:a16="http://schemas.microsoft.com/office/drawing/2014/main" id="{E694F34C-2436-894C-9A38-5ECC387754EF}"/>
              </a:ext>
            </a:extLst>
          </p:cNvPr>
          <p:cNvSpPr>
            <a:spLocks noGrp="1"/>
          </p:cNvSpPr>
          <p:nvPr>
            <p:ph type="pic" sz="quarter" idx="13" hasCustomPrompt="1"/>
          </p:nvPr>
        </p:nvSpPr>
        <p:spPr>
          <a:xfrm>
            <a:off x="5" y="5"/>
            <a:ext cx="6109247" cy="6857997"/>
          </a:xfrm>
          <a:custGeom>
            <a:avLst/>
            <a:gdLst>
              <a:gd name="connsiteX0" fmla="*/ 1146049 w 6094408"/>
              <a:gd name="connsiteY0" fmla="*/ 6470534 h 6857997"/>
              <a:gd name="connsiteX1" fmla="*/ 1157832 w 6094408"/>
              <a:gd name="connsiteY1" fmla="*/ 6505507 h 6857997"/>
              <a:gd name="connsiteX2" fmla="*/ 1134642 w 6094408"/>
              <a:gd name="connsiteY2" fmla="*/ 6505507 h 6857997"/>
              <a:gd name="connsiteX3" fmla="*/ 788170 w 6094408"/>
              <a:gd name="connsiteY3" fmla="*/ 6470534 h 6857997"/>
              <a:gd name="connsiteX4" fmla="*/ 799953 w 6094408"/>
              <a:gd name="connsiteY4" fmla="*/ 6505507 h 6857997"/>
              <a:gd name="connsiteX5" fmla="*/ 776763 w 6094408"/>
              <a:gd name="connsiteY5" fmla="*/ 6505507 h 6857997"/>
              <a:gd name="connsiteX6" fmla="*/ 1132323 w 6094408"/>
              <a:gd name="connsiteY6" fmla="*/ 6451543 h 6857997"/>
              <a:gd name="connsiteX7" fmla="*/ 1100860 w 6094408"/>
              <a:gd name="connsiteY7" fmla="*/ 6542674 h 6857997"/>
              <a:gd name="connsiteX8" fmla="*/ 1123110 w 6094408"/>
              <a:gd name="connsiteY8" fmla="*/ 6542674 h 6857997"/>
              <a:gd name="connsiteX9" fmla="*/ 1128876 w 6094408"/>
              <a:gd name="connsiteY9" fmla="*/ 6524060 h 6857997"/>
              <a:gd name="connsiteX10" fmla="*/ 1163786 w 6094408"/>
              <a:gd name="connsiteY10" fmla="*/ 6524060 h 6857997"/>
              <a:gd name="connsiteX11" fmla="*/ 1169741 w 6094408"/>
              <a:gd name="connsiteY11" fmla="*/ 6542674 h 6857997"/>
              <a:gd name="connsiteX12" fmla="*/ 1191615 w 6094408"/>
              <a:gd name="connsiteY12" fmla="*/ 6542674 h 6857997"/>
              <a:gd name="connsiteX13" fmla="*/ 1159148 w 6094408"/>
              <a:gd name="connsiteY13" fmla="*/ 6451543 h 6857997"/>
              <a:gd name="connsiteX14" fmla="*/ 961907 w 6094408"/>
              <a:gd name="connsiteY14" fmla="*/ 6451543 h 6857997"/>
              <a:gd name="connsiteX15" fmla="*/ 933640 w 6094408"/>
              <a:gd name="connsiteY15" fmla="*/ 6479246 h 6857997"/>
              <a:gd name="connsiteX16" fmla="*/ 961907 w 6094408"/>
              <a:gd name="connsiteY16" fmla="*/ 6505821 h 6857997"/>
              <a:gd name="connsiteX17" fmla="*/ 983468 w 6094408"/>
              <a:gd name="connsiteY17" fmla="*/ 6505821 h 6857997"/>
              <a:gd name="connsiteX18" fmla="*/ 991678 w 6094408"/>
              <a:gd name="connsiteY18" fmla="*/ 6514282 h 6857997"/>
              <a:gd name="connsiteX19" fmla="*/ 983468 w 6094408"/>
              <a:gd name="connsiteY19" fmla="*/ 6522743 h 6857997"/>
              <a:gd name="connsiteX20" fmla="*/ 937338 w 6094408"/>
              <a:gd name="connsiteY20" fmla="*/ 6522743 h 6857997"/>
              <a:gd name="connsiteX21" fmla="*/ 937338 w 6094408"/>
              <a:gd name="connsiteY21" fmla="*/ 6542674 h 6857997"/>
              <a:gd name="connsiteX22" fmla="*/ 982716 w 6094408"/>
              <a:gd name="connsiteY22" fmla="*/ 6542674 h 6857997"/>
              <a:gd name="connsiteX23" fmla="*/ 1011358 w 6094408"/>
              <a:gd name="connsiteY23" fmla="*/ 6514282 h 6857997"/>
              <a:gd name="connsiteX24" fmla="*/ 986727 w 6094408"/>
              <a:gd name="connsiteY24" fmla="*/ 6487707 h 6857997"/>
              <a:gd name="connsiteX25" fmla="*/ 961907 w 6094408"/>
              <a:gd name="connsiteY25" fmla="*/ 6487707 h 6857997"/>
              <a:gd name="connsiteX26" fmla="*/ 953321 w 6094408"/>
              <a:gd name="connsiteY26" fmla="*/ 6479246 h 6857997"/>
              <a:gd name="connsiteX27" fmla="*/ 961907 w 6094408"/>
              <a:gd name="connsiteY27" fmla="*/ 6470785 h 6857997"/>
              <a:gd name="connsiteX28" fmla="*/ 1004965 w 6094408"/>
              <a:gd name="connsiteY28" fmla="*/ 6470785 h 6857997"/>
              <a:gd name="connsiteX29" fmla="*/ 1004965 w 6094408"/>
              <a:gd name="connsiteY29" fmla="*/ 6451543 h 6857997"/>
              <a:gd name="connsiteX30" fmla="*/ 841570 w 6094408"/>
              <a:gd name="connsiteY30" fmla="*/ 6451543 h 6857997"/>
              <a:gd name="connsiteX31" fmla="*/ 841570 w 6094408"/>
              <a:gd name="connsiteY31" fmla="*/ 6542674 h 6857997"/>
              <a:gd name="connsiteX32" fmla="*/ 862692 w 6094408"/>
              <a:gd name="connsiteY32" fmla="*/ 6542674 h 6857997"/>
              <a:gd name="connsiteX33" fmla="*/ 862692 w 6094408"/>
              <a:gd name="connsiteY33" fmla="*/ 6486454 h 6857997"/>
              <a:gd name="connsiteX34" fmla="*/ 898981 w 6094408"/>
              <a:gd name="connsiteY34" fmla="*/ 6542486 h 6857997"/>
              <a:gd name="connsiteX35" fmla="*/ 898981 w 6094408"/>
              <a:gd name="connsiteY35" fmla="*/ 6542674 h 6857997"/>
              <a:gd name="connsiteX36" fmla="*/ 920855 w 6094408"/>
              <a:gd name="connsiteY36" fmla="*/ 6542674 h 6857997"/>
              <a:gd name="connsiteX37" fmla="*/ 920793 w 6094408"/>
              <a:gd name="connsiteY37" fmla="*/ 6522994 h 6857997"/>
              <a:gd name="connsiteX38" fmla="*/ 920667 w 6094408"/>
              <a:gd name="connsiteY38" fmla="*/ 6451543 h 6857997"/>
              <a:gd name="connsiteX39" fmla="*/ 899671 w 6094408"/>
              <a:gd name="connsiteY39" fmla="*/ 6451543 h 6857997"/>
              <a:gd name="connsiteX40" fmla="*/ 899671 w 6094408"/>
              <a:gd name="connsiteY40" fmla="*/ 6508829 h 6857997"/>
              <a:gd name="connsiteX41" fmla="*/ 863068 w 6094408"/>
              <a:gd name="connsiteY41" fmla="*/ 6451543 h 6857997"/>
              <a:gd name="connsiteX42" fmla="*/ 774444 w 6094408"/>
              <a:gd name="connsiteY42" fmla="*/ 6451543 h 6857997"/>
              <a:gd name="connsiteX43" fmla="*/ 742918 w 6094408"/>
              <a:gd name="connsiteY43" fmla="*/ 6542674 h 6857997"/>
              <a:gd name="connsiteX44" fmla="*/ 765168 w 6094408"/>
              <a:gd name="connsiteY44" fmla="*/ 6542674 h 6857997"/>
              <a:gd name="connsiteX45" fmla="*/ 770934 w 6094408"/>
              <a:gd name="connsiteY45" fmla="*/ 6524060 h 6857997"/>
              <a:gd name="connsiteX46" fmla="*/ 805845 w 6094408"/>
              <a:gd name="connsiteY46" fmla="*/ 6524060 h 6857997"/>
              <a:gd name="connsiteX47" fmla="*/ 811799 w 6094408"/>
              <a:gd name="connsiteY47" fmla="*/ 6542674 h 6857997"/>
              <a:gd name="connsiteX48" fmla="*/ 833735 w 6094408"/>
              <a:gd name="connsiteY48" fmla="*/ 6542674 h 6857997"/>
              <a:gd name="connsiteX49" fmla="*/ 801269 w 6094408"/>
              <a:gd name="connsiteY49" fmla="*/ 6451543 h 6857997"/>
              <a:gd name="connsiteX50" fmla="*/ 604404 w 6094408"/>
              <a:gd name="connsiteY50" fmla="*/ 6451543 h 6857997"/>
              <a:gd name="connsiteX51" fmla="*/ 576137 w 6094408"/>
              <a:gd name="connsiteY51" fmla="*/ 6479246 h 6857997"/>
              <a:gd name="connsiteX52" fmla="*/ 604404 w 6094408"/>
              <a:gd name="connsiteY52" fmla="*/ 6505821 h 6857997"/>
              <a:gd name="connsiteX53" fmla="*/ 625964 w 6094408"/>
              <a:gd name="connsiteY53" fmla="*/ 6505821 h 6857997"/>
              <a:gd name="connsiteX54" fmla="*/ 634174 w 6094408"/>
              <a:gd name="connsiteY54" fmla="*/ 6514282 h 6857997"/>
              <a:gd name="connsiteX55" fmla="*/ 625964 w 6094408"/>
              <a:gd name="connsiteY55" fmla="*/ 6522743 h 6857997"/>
              <a:gd name="connsiteX56" fmla="*/ 579772 w 6094408"/>
              <a:gd name="connsiteY56" fmla="*/ 6522743 h 6857997"/>
              <a:gd name="connsiteX57" fmla="*/ 579772 w 6094408"/>
              <a:gd name="connsiteY57" fmla="*/ 6542674 h 6857997"/>
              <a:gd name="connsiteX58" fmla="*/ 625149 w 6094408"/>
              <a:gd name="connsiteY58" fmla="*/ 6542674 h 6857997"/>
              <a:gd name="connsiteX59" fmla="*/ 653792 w 6094408"/>
              <a:gd name="connsiteY59" fmla="*/ 6514282 h 6857997"/>
              <a:gd name="connsiteX60" fmla="*/ 629223 w 6094408"/>
              <a:gd name="connsiteY60" fmla="*/ 6487707 h 6857997"/>
              <a:gd name="connsiteX61" fmla="*/ 604404 w 6094408"/>
              <a:gd name="connsiteY61" fmla="*/ 6487707 h 6857997"/>
              <a:gd name="connsiteX62" fmla="*/ 595817 w 6094408"/>
              <a:gd name="connsiteY62" fmla="*/ 6479246 h 6857997"/>
              <a:gd name="connsiteX63" fmla="*/ 604404 w 6094408"/>
              <a:gd name="connsiteY63" fmla="*/ 6470785 h 6857997"/>
              <a:gd name="connsiteX64" fmla="*/ 647462 w 6094408"/>
              <a:gd name="connsiteY64" fmla="*/ 6470785 h 6857997"/>
              <a:gd name="connsiteX65" fmla="*/ 647462 w 6094408"/>
              <a:gd name="connsiteY65" fmla="*/ 6451543 h 6857997"/>
              <a:gd name="connsiteX66" fmla="*/ 1023956 w 6094408"/>
              <a:gd name="connsiteY66" fmla="*/ 6451480 h 6857997"/>
              <a:gd name="connsiteX67" fmla="*/ 1023956 w 6094408"/>
              <a:gd name="connsiteY67" fmla="*/ 6542674 h 6857997"/>
              <a:gd name="connsiteX68" fmla="*/ 1045016 w 6094408"/>
              <a:gd name="connsiteY68" fmla="*/ 6542674 h 6857997"/>
              <a:gd name="connsiteX69" fmla="*/ 1045016 w 6094408"/>
              <a:gd name="connsiteY69" fmla="*/ 6504191 h 6857997"/>
              <a:gd name="connsiteX70" fmla="*/ 1074975 w 6094408"/>
              <a:gd name="connsiteY70" fmla="*/ 6542674 h 6857997"/>
              <a:gd name="connsiteX71" fmla="*/ 1099481 w 6094408"/>
              <a:gd name="connsiteY71" fmla="*/ 6542674 h 6857997"/>
              <a:gd name="connsiteX72" fmla="*/ 1065009 w 6094408"/>
              <a:gd name="connsiteY72" fmla="*/ 6497109 h 6857997"/>
              <a:gd name="connsiteX73" fmla="*/ 1099481 w 6094408"/>
              <a:gd name="connsiteY73" fmla="*/ 6451480 h 6857997"/>
              <a:gd name="connsiteX74" fmla="*/ 1074975 w 6094408"/>
              <a:gd name="connsiteY74" fmla="*/ 6451480 h 6857997"/>
              <a:gd name="connsiteX75" fmla="*/ 1045016 w 6094408"/>
              <a:gd name="connsiteY75" fmla="*/ 6489963 h 6857997"/>
              <a:gd name="connsiteX76" fmla="*/ 1045016 w 6094408"/>
              <a:gd name="connsiteY76" fmla="*/ 6451480 h 6857997"/>
              <a:gd name="connsiteX77" fmla="*/ 666077 w 6094408"/>
              <a:gd name="connsiteY77" fmla="*/ 6451480 h 6857997"/>
              <a:gd name="connsiteX78" fmla="*/ 666077 w 6094408"/>
              <a:gd name="connsiteY78" fmla="*/ 6542674 h 6857997"/>
              <a:gd name="connsiteX79" fmla="*/ 687073 w 6094408"/>
              <a:gd name="connsiteY79" fmla="*/ 6542674 h 6857997"/>
              <a:gd name="connsiteX80" fmla="*/ 687073 w 6094408"/>
              <a:gd name="connsiteY80" fmla="*/ 6504191 h 6857997"/>
              <a:gd name="connsiteX81" fmla="*/ 717033 w 6094408"/>
              <a:gd name="connsiteY81" fmla="*/ 6542674 h 6857997"/>
              <a:gd name="connsiteX82" fmla="*/ 741602 w 6094408"/>
              <a:gd name="connsiteY82" fmla="*/ 6542674 h 6857997"/>
              <a:gd name="connsiteX83" fmla="*/ 707067 w 6094408"/>
              <a:gd name="connsiteY83" fmla="*/ 6497109 h 6857997"/>
              <a:gd name="connsiteX84" fmla="*/ 741602 w 6094408"/>
              <a:gd name="connsiteY84" fmla="*/ 6451480 h 6857997"/>
              <a:gd name="connsiteX85" fmla="*/ 717033 w 6094408"/>
              <a:gd name="connsiteY85" fmla="*/ 6451480 h 6857997"/>
              <a:gd name="connsiteX86" fmla="*/ 687073 w 6094408"/>
              <a:gd name="connsiteY86" fmla="*/ 6489963 h 6857997"/>
              <a:gd name="connsiteX87" fmla="*/ 687073 w 6094408"/>
              <a:gd name="connsiteY87" fmla="*/ 6451480 h 6857997"/>
              <a:gd name="connsiteX88" fmla="*/ 0 w 6094408"/>
              <a:gd name="connsiteY88" fmla="*/ 0 h 6857997"/>
              <a:gd name="connsiteX89" fmla="*/ 6094408 w 6094408"/>
              <a:gd name="connsiteY89" fmla="*/ 0 h 6857997"/>
              <a:gd name="connsiteX90" fmla="*/ 6094408 w 6094408"/>
              <a:gd name="connsiteY90" fmla="*/ 6857997 h 6857997"/>
              <a:gd name="connsiteX91" fmla="*/ 0 w 6094408"/>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4408"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6094408" y="0"/>
                </a:lnTo>
                <a:lnTo>
                  <a:pt x="6094408"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6" name="textruta 5">
            <a:extLst>
              <a:ext uri="{FF2B5EF4-FFF2-40B4-BE49-F238E27FC236}">
                <a16:creationId xmlns:a16="http://schemas.microsoft.com/office/drawing/2014/main" id="{9FE728FC-C64C-ED4F-8B3A-2159EA348AD2}"/>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GB" sz="900" b="1" baseline="0">
                <a:solidFill>
                  <a:schemeClr val="tx1">
                    <a:lumMod val="65000"/>
                    <a:lumOff val="35000"/>
                  </a:schemeClr>
                </a:solidFill>
                <a:latin typeface="Arial" panose="020B0604020202020204" pitchFamily="34" charset="0"/>
                <a:cs typeface="Arial" panose="020B0604020202020204" pitchFamily="34" charset="0"/>
              </a:rPr>
              <a:t>right click the image </a:t>
            </a:r>
            <a:r>
              <a:rPr lang="en-GB" sz="900" baseline="0">
                <a:solidFill>
                  <a:schemeClr val="tx1">
                    <a:lumMod val="65000"/>
                    <a:lumOff val="35000"/>
                  </a:schemeClr>
                </a:solidFill>
                <a:latin typeface="Arial" panose="020B0604020202020204" pitchFamily="34" charset="0"/>
                <a:cs typeface="Arial" panose="020B0604020202020204" pitchFamily="34" charset="0"/>
              </a:rPr>
              <a:t>and use – </a:t>
            </a:r>
            <a:r>
              <a:rPr lang="en-GB" sz="900" b="1">
                <a:solidFill>
                  <a:schemeClr val="tx1">
                    <a:lumMod val="65000"/>
                    <a:lumOff val="35000"/>
                  </a:schemeClr>
                </a:solidFill>
                <a:latin typeface="Arial" panose="020B0604020202020204" pitchFamily="34" charset="0"/>
                <a:cs typeface="Arial" panose="020B0604020202020204" pitchFamily="34" charset="0"/>
              </a:rPr>
              <a:t>S</a:t>
            </a:r>
            <a:r>
              <a:rPr lang="en-GB" sz="900" b="1" baseline="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7" name="textruta 6">
            <a:extLst>
              <a:ext uri="{FF2B5EF4-FFF2-40B4-BE49-F238E27FC236}">
                <a16:creationId xmlns:a16="http://schemas.microsoft.com/office/drawing/2014/main" id="{BE6ABED2-384F-4748-8CE8-E5DB02B0EC75}"/>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Format Background </a:t>
            </a:r>
            <a:r>
              <a:rPr lang="en-GB" sz="900" baseline="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Solid fill</a:t>
            </a:r>
            <a:r>
              <a:rPr lang="en-GB" sz="900" baseline="0">
                <a:solidFill>
                  <a:schemeClr val="tx1">
                    <a:lumMod val="65000"/>
                    <a:lumOff val="35000"/>
                  </a:schemeClr>
                </a:solidFill>
                <a:latin typeface="Arial" panose="020B0604020202020204" pitchFamily="34" charset="0"/>
                <a:cs typeface="Arial" panose="020B0604020202020204" pitchFamily="34" charset="0"/>
              </a:rPr>
              <a:t> – </a:t>
            </a:r>
            <a:r>
              <a:rPr lang="en-GB" sz="900" b="1" baseline="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p:txBody>
      </p:sp>
      <p:sp>
        <p:nvSpPr>
          <p:cNvPr id="8" name="Rektangel 7">
            <a:extLst>
              <a:ext uri="{FF2B5EF4-FFF2-40B4-BE49-F238E27FC236}">
                <a16:creationId xmlns:a16="http://schemas.microsoft.com/office/drawing/2014/main" id="{739A018F-446B-C241-8ABA-56BE21D1A17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D857EEAE-5D56-214C-B466-54015AC35F80}"/>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B3D60CCC-F2DD-4247-911D-3D6E39D2B6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06523" y="3429000"/>
            <a:ext cx="6096000" cy="3429000"/>
          </a:xfrm>
          <a:prstGeom prst="rect">
            <a:avLst/>
          </a:prstGeom>
        </p:spPr>
      </p:pic>
      <p:sp>
        <p:nvSpPr>
          <p:cNvPr id="10" name="Text Placeholder 4">
            <a:extLst>
              <a:ext uri="{FF2B5EF4-FFF2-40B4-BE49-F238E27FC236}">
                <a16:creationId xmlns:a16="http://schemas.microsoft.com/office/drawing/2014/main" id="{CC8634A3-40E2-E941-BE06-B35A402E81A2}"/>
              </a:ext>
            </a:extLst>
          </p:cNvPr>
          <p:cNvSpPr>
            <a:spLocks noGrp="1"/>
          </p:cNvSpPr>
          <p:nvPr>
            <p:ph type="body" sz="quarter" idx="20"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11" name="Text Placeholder 4">
            <a:extLst>
              <a:ext uri="{FF2B5EF4-FFF2-40B4-BE49-F238E27FC236}">
                <a16:creationId xmlns:a16="http://schemas.microsoft.com/office/drawing/2014/main" id="{7FF54DF7-8C90-5048-91F4-ED1EB63FEBB9}"/>
              </a:ext>
            </a:extLst>
          </p:cNvPr>
          <p:cNvSpPr>
            <a:spLocks noGrp="1"/>
          </p:cNvSpPr>
          <p:nvPr>
            <p:ph type="body" sz="quarter" idx="21" hasCustomPrompt="1"/>
          </p:nvPr>
        </p:nvSpPr>
        <p:spPr>
          <a:xfrm rot="5400000">
            <a:off x="4818982"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1963265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Text Half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599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a:t>
            </a:r>
            <a:br>
              <a:rPr lang="en-US" noProof="0" dirty="0"/>
            </a:br>
            <a:r>
              <a:rPr lang="en-US" noProof="0" dirty="0"/>
              <a:t>of maximum three lines</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2" name="Platshållare för text 11">
            <a:extLst>
              <a:ext uri="{FF2B5EF4-FFF2-40B4-BE49-F238E27FC236}">
                <a16:creationId xmlns:a16="http://schemas.microsoft.com/office/drawing/2014/main" id="{2A42B50C-7FD1-C146-8ECB-95091B05A65D}"/>
              </a:ext>
            </a:extLst>
          </p:cNvPr>
          <p:cNvSpPr>
            <a:spLocks noGrp="1"/>
          </p:cNvSpPr>
          <p:nvPr>
            <p:ph type="body" sz="quarter" idx="20"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6" name="Platshållare för datum 3">
            <a:extLst>
              <a:ext uri="{FF2B5EF4-FFF2-40B4-BE49-F238E27FC236}">
                <a16:creationId xmlns:a16="http://schemas.microsoft.com/office/drawing/2014/main" id="{E89DEF0D-E0BF-5D4C-9494-8D5AE0D65D0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FB5C84B8-E89C-47B9-A73C-B85D98262E83}" type="datetime1">
              <a:rPr lang="en-US" noProof="0" smtClean="0"/>
              <a:t>11/1/2023</a:t>
            </a:fld>
            <a:endParaRPr lang="en-US" noProof="0"/>
          </a:p>
        </p:txBody>
      </p:sp>
      <p:sp>
        <p:nvSpPr>
          <p:cNvPr id="17" name="Platshållare för sidfot 4">
            <a:extLst>
              <a:ext uri="{FF2B5EF4-FFF2-40B4-BE49-F238E27FC236}">
                <a16:creationId xmlns:a16="http://schemas.microsoft.com/office/drawing/2014/main" id="{59120A69-D01F-A748-9537-2B83B4D28AD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943BB26A-3612-3A42-8216-56A3B027D32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5" name="Text Placeholder 4">
            <a:extLst>
              <a:ext uri="{FF2B5EF4-FFF2-40B4-BE49-F238E27FC236}">
                <a16:creationId xmlns:a16="http://schemas.microsoft.com/office/drawing/2014/main" id="{ADFA69F0-4DC9-E843-AD83-A7CA3C778BDC}"/>
              </a:ext>
            </a:extLst>
          </p:cNvPr>
          <p:cNvSpPr>
            <a:spLocks noGrp="1"/>
          </p:cNvSpPr>
          <p:nvPr>
            <p:ph type="body" sz="quarter" idx="21"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861981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 Text Two Images">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9D64F04D-9016-D648-A564-243328D5CF42}"/>
              </a:ext>
            </a:extLst>
          </p:cNvPr>
          <p:cNvSpPr>
            <a:spLocks noGrp="1"/>
          </p:cNvSpPr>
          <p:nvPr>
            <p:ph type="pic" sz="quarter" idx="20" hasCustomPrompt="1"/>
          </p:nvPr>
        </p:nvSpPr>
        <p:spPr>
          <a:xfrm>
            <a:off x="6102124"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en-US" noProof="0"/>
              <a:t>Click on the icon to add an image</a:t>
            </a:r>
          </a:p>
        </p:txBody>
      </p:sp>
      <p:sp>
        <p:nvSpPr>
          <p:cNvPr id="18" name="Picture Placeholder 17">
            <a:extLst>
              <a:ext uri="{FF2B5EF4-FFF2-40B4-BE49-F238E27FC236}">
                <a16:creationId xmlns:a16="http://schemas.microsoft.com/office/drawing/2014/main" id="{F0C79A00-1FF1-DE4A-B834-AE197A728667}"/>
              </a:ext>
            </a:extLst>
          </p:cNvPr>
          <p:cNvSpPr>
            <a:spLocks noGrp="1"/>
          </p:cNvSpPr>
          <p:nvPr>
            <p:ph type="pic" sz="quarter" idx="21" hasCustomPrompt="1"/>
          </p:nvPr>
        </p:nvSpPr>
        <p:spPr>
          <a:xfrm>
            <a:off x="6102124"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en-US" noProof="0"/>
              <a:t>Click on the icon to add an image</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ext Placeholder 18">
            <a:extLst>
              <a:ext uri="{FF2B5EF4-FFF2-40B4-BE49-F238E27FC236}">
                <a16:creationId xmlns:a16="http://schemas.microsoft.com/office/drawing/2014/main" id="{20467CA4-0B99-3D43-951D-AF48E93B71AF}"/>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hree lines</a:t>
            </a:r>
          </a:p>
        </p:txBody>
      </p:sp>
      <p:sp>
        <p:nvSpPr>
          <p:cNvPr id="28" name="Platshållare för text 11">
            <a:extLst>
              <a:ext uri="{FF2B5EF4-FFF2-40B4-BE49-F238E27FC236}">
                <a16:creationId xmlns:a16="http://schemas.microsoft.com/office/drawing/2014/main" id="{6EA4EC91-4073-7042-8C47-9A5C07E48A82}"/>
              </a:ext>
            </a:extLst>
          </p:cNvPr>
          <p:cNvSpPr>
            <a:spLocks noGrp="1"/>
          </p:cNvSpPr>
          <p:nvPr>
            <p:ph type="body" sz="quarter" idx="22"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9" name="Platshållare för datum 3">
            <a:extLst>
              <a:ext uri="{FF2B5EF4-FFF2-40B4-BE49-F238E27FC236}">
                <a16:creationId xmlns:a16="http://schemas.microsoft.com/office/drawing/2014/main" id="{45B54E49-CA70-F24E-94C1-2A908903A1E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6C7F468E-3B83-4668-A7E8-A5B2BFB553FC}" type="datetime1">
              <a:rPr lang="en-US" noProof="0" smtClean="0"/>
              <a:t>11/1/2023</a:t>
            </a:fld>
            <a:endParaRPr lang="en-US" noProof="0"/>
          </a:p>
        </p:txBody>
      </p:sp>
      <p:sp>
        <p:nvSpPr>
          <p:cNvPr id="20" name="Platshållare för sidfot 4">
            <a:extLst>
              <a:ext uri="{FF2B5EF4-FFF2-40B4-BE49-F238E27FC236}">
                <a16:creationId xmlns:a16="http://schemas.microsoft.com/office/drawing/2014/main" id="{81CF31E5-3CFA-0741-9FA7-E68B33FF182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5" name="Platshållare för bildnummer 5">
            <a:extLst>
              <a:ext uri="{FF2B5EF4-FFF2-40B4-BE49-F238E27FC236}">
                <a16:creationId xmlns:a16="http://schemas.microsoft.com/office/drawing/2014/main" id="{E01C1CB6-4DB0-AD41-90AA-E2810CAF6C3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7" name="Text Placeholder 4">
            <a:extLst>
              <a:ext uri="{FF2B5EF4-FFF2-40B4-BE49-F238E27FC236}">
                <a16:creationId xmlns:a16="http://schemas.microsoft.com/office/drawing/2014/main" id="{72EE66E8-7924-5B47-AFDD-577EDE917188}"/>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9" name="Text Placeholder 4">
            <a:extLst>
              <a:ext uri="{FF2B5EF4-FFF2-40B4-BE49-F238E27FC236}">
                <a16:creationId xmlns:a16="http://schemas.microsoft.com/office/drawing/2014/main" id="{F0ECC550-5076-C14C-9AC3-F7D9B43AE5CC}"/>
              </a:ext>
            </a:extLst>
          </p:cNvPr>
          <p:cNvSpPr>
            <a:spLocks noGrp="1"/>
          </p:cNvSpPr>
          <p:nvPr>
            <p:ph type="body" sz="quarter" idx="23" hasCustomPrompt="1"/>
          </p:nvPr>
        </p:nvSpPr>
        <p:spPr>
          <a:xfrm rot="5400000">
            <a:off x="10901730" y="4232646"/>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4039614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 Text Third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0801"/>
            <a:ext cx="7258375" cy="860256"/>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a:t>
            </a:r>
            <a:br>
              <a:rPr lang="en-US" noProof="0" dirty="0"/>
            </a:br>
            <a:r>
              <a:rPr lang="en-US" noProof="0" dirty="0"/>
              <a:t>of maximum two lines</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8" name="Text Placeholder 7">
            <a:extLst>
              <a:ext uri="{FF2B5EF4-FFF2-40B4-BE49-F238E27FC236}">
                <a16:creationId xmlns:a16="http://schemas.microsoft.com/office/drawing/2014/main" id="{2E443046-6083-654F-90A3-8BC37A592844}"/>
              </a:ext>
            </a:extLst>
          </p:cNvPr>
          <p:cNvSpPr>
            <a:spLocks noGrp="1"/>
          </p:cNvSpPr>
          <p:nvPr>
            <p:ph type="body" sz="quarter" idx="19" hasCustomPrompt="1"/>
          </p:nvPr>
        </p:nvSpPr>
        <p:spPr>
          <a:xfrm>
            <a:off x="576000" y="2527201"/>
            <a:ext cx="3481650"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en-US" noProof="0"/>
              <a:t>Click to add a short headline</a:t>
            </a:r>
          </a:p>
        </p:txBody>
      </p:sp>
      <p:sp>
        <p:nvSpPr>
          <p:cNvPr id="16" name="Text Placeholder 7">
            <a:extLst>
              <a:ext uri="{FF2B5EF4-FFF2-40B4-BE49-F238E27FC236}">
                <a16:creationId xmlns:a16="http://schemas.microsoft.com/office/drawing/2014/main" id="{E67F9331-98D1-9C4B-905A-0ADF2E53F9BE}"/>
              </a:ext>
            </a:extLst>
          </p:cNvPr>
          <p:cNvSpPr>
            <a:spLocks noGrp="1"/>
          </p:cNvSpPr>
          <p:nvPr>
            <p:ph type="body" sz="quarter" idx="20" hasCustomPrompt="1"/>
          </p:nvPr>
        </p:nvSpPr>
        <p:spPr>
          <a:xfrm>
            <a:off x="4360747" y="2527201"/>
            <a:ext cx="3470274"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en-US" noProof="0"/>
              <a:t>Click to add a short headline</a:t>
            </a:r>
          </a:p>
        </p:txBody>
      </p:sp>
      <p:sp>
        <p:nvSpPr>
          <p:cNvPr id="18" name="Platshållare för text 11">
            <a:extLst>
              <a:ext uri="{FF2B5EF4-FFF2-40B4-BE49-F238E27FC236}">
                <a16:creationId xmlns:a16="http://schemas.microsoft.com/office/drawing/2014/main" id="{B167AB32-6297-C042-8F90-85FF79E8A715}"/>
              </a:ext>
            </a:extLst>
          </p:cNvPr>
          <p:cNvSpPr>
            <a:spLocks noGrp="1"/>
          </p:cNvSpPr>
          <p:nvPr>
            <p:ph type="body" sz="quarter" idx="22" hasCustomPrompt="1"/>
          </p:nvPr>
        </p:nvSpPr>
        <p:spPr>
          <a:xfrm>
            <a:off x="576001" y="3101340"/>
            <a:ext cx="3481650" cy="3027998"/>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0" name="Platshållare för text 11">
            <a:extLst>
              <a:ext uri="{FF2B5EF4-FFF2-40B4-BE49-F238E27FC236}">
                <a16:creationId xmlns:a16="http://schemas.microsoft.com/office/drawing/2014/main" id="{A3BB055C-51F0-9547-B732-F77893221A8A}"/>
              </a:ext>
            </a:extLst>
          </p:cNvPr>
          <p:cNvSpPr>
            <a:spLocks noGrp="1"/>
          </p:cNvSpPr>
          <p:nvPr>
            <p:ph type="body" sz="quarter" idx="23" hasCustomPrompt="1"/>
          </p:nvPr>
        </p:nvSpPr>
        <p:spPr>
          <a:xfrm>
            <a:off x="4360747" y="3101340"/>
            <a:ext cx="3468803" cy="3027998"/>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5" name="Platshållare för datum 3">
            <a:extLst>
              <a:ext uri="{FF2B5EF4-FFF2-40B4-BE49-F238E27FC236}">
                <a16:creationId xmlns:a16="http://schemas.microsoft.com/office/drawing/2014/main" id="{EF8DED46-4381-4A4E-B90C-47E643212D3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5AD70F77-6B68-4E3E-BD03-2A993505FE4B}" type="datetime1">
              <a:rPr lang="en-US" noProof="0" smtClean="0"/>
              <a:t>11/1/2023</a:t>
            </a:fld>
            <a:endParaRPr lang="en-US" noProof="0"/>
          </a:p>
        </p:txBody>
      </p:sp>
      <p:sp>
        <p:nvSpPr>
          <p:cNvPr id="26" name="Platshållare för sidfot 4">
            <a:extLst>
              <a:ext uri="{FF2B5EF4-FFF2-40B4-BE49-F238E27FC236}">
                <a16:creationId xmlns:a16="http://schemas.microsoft.com/office/drawing/2014/main" id="{156B130B-C777-8649-96AB-98BFDD4C394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7" name="Platshållare för bildnummer 5">
            <a:extLst>
              <a:ext uri="{FF2B5EF4-FFF2-40B4-BE49-F238E27FC236}">
                <a16:creationId xmlns:a16="http://schemas.microsoft.com/office/drawing/2014/main" id="{F143B0E1-EC62-C549-82DA-518FA9718F4A}"/>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9" name="Text Placeholder 4">
            <a:extLst>
              <a:ext uri="{FF2B5EF4-FFF2-40B4-BE49-F238E27FC236}">
                <a16:creationId xmlns:a16="http://schemas.microsoft.com/office/drawing/2014/main" id="{451A2045-A8EE-6E45-9F6D-0E79C884BB53}"/>
              </a:ext>
            </a:extLst>
          </p:cNvPr>
          <p:cNvSpPr>
            <a:spLocks noGrp="1"/>
          </p:cNvSpPr>
          <p:nvPr>
            <p:ph type="body" sz="quarter" idx="2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8507136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 Full Image Text">
    <p:bg>
      <p:bgPr>
        <a:solidFill>
          <a:schemeClr val="tx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9" name="Text Placeholder 18">
            <a:extLst>
              <a:ext uri="{FF2B5EF4-FFF2-40B4-BE49-F238E27FC236}">
                <a16:creationId xmlns:a16="http://schemas.microsoft.com/office/drawing/2014/main" id="{58CE51E9-6C0E-C949-894C-193AA77B60DF}"/>
              </a:ext>
            </a:extLst>
          </p:cNvPr>
          <p:cNvSpPr>
            <a:spLocks noGrp="1"/>
          </p:cNvSpPr>
          <p:nvPr>
            <p:ph type="body" sz="quarter" idx="14" hasCustomPrompt="1"/>
          </p:nvPr>
        </p:nvSpPr>
        <p:spPr>
          <a:xfrm>
            <a:off x="576000" y="730800"/>
            <a:ext cx="7258375"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a:t>
            </a:r>
            <a:br>
              <a:rPr lang="en-US" noProof="0" dirty="0"/>
            </a:br>
            <a:r>
              <a:rPr lang="en-US" noProof="0" dirty="0"/>
              <a:t>of maximum two lines</a:t>
            </a:r>
          </a:p>
        </p:txBody>
      </p:sp>
      <p:sp>
        <p:nvSpPr>
          <p:cNvPr id="11" name="Platshållare för text 11">
            <a:extLst>
              <a:ext uri="{FF2B5EF4-FFF2-40B4-BE49-F238E27FC236}">
                <a16:creationId xmlns:a16="http://schemas.microsoft.com/office/drawing/2014/main" id="{C5482E94-5FA1-1F47-8B93-C0D85448BA6E}"/>
              </a:ext>
            </a:extLst>
          </p:cNvPr>
          <p:cNvSpPr>
            <a:spLocks noGrp="1"/>
          </p:cNvSpPr>
          <p:nvPr>
            <p:ph type="body" sz="quarter" idx="22" hasCustomPrompt="1"/>
          </p:nvPr>
        </p:nvSpPr>
        <p:spPr>
          <a:xfrm>
            <a:off x="576000" y="2527200"/>
            <a:ext cx="7253550"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2" name="textruta 5">
            <a:extLst>
              <a:ext uri="{FF2B5EF4-FFF2-40B4-BE49-F238E27FC236}">
                <a16:creationId xmlns:a16="http://schemas.microsoft.com/office/drawing/2014/main" id="{45196D91-67ED-F14C-AA23-1BB0E2429AA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3" name="textruta 12">
            <a:extLst>
              <a:ext uri="{FF2B5EF4-FFF2-40B4-BE49-F238E27FC236}">
                <a16:creationId xmlns:a16="http://schemas.microsoft.com/office/drawing/2014/main" id="{E0F263F1-6466-534C-AD87-EA9164E7414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ktangel 13">
            <a:extLst>
              <a:ext uri="{FF2B5EF4-FFF2-40B4-BE49-F238E27FC236}">
                <a16:creationId xmlns:a16="http://schemas.microsoft.com/office/drawing/2014/main" id="{916D287D-EFE0-9C43-8645-225101052B01}"/>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ktangel 14">
            <a:extLst>
              <a:ext uri="{FF2B5EF4-FFF2-40B4-BE49-F238E27FC236}">
                <a16:creationId xmlns:a16="http://schemas.microsoft.com/office/drawing/2014/main" id="{5C7F710D-EE3C-7646-9CC3-62F39C8BE8F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Platshållare för datum 3">
            <a:extLst>
              <a:ext uri="{FF2B5EF4-FFF2-40B4-BE49-F238E27FC236}">
                <a16:creationId xmlns:a16="http://schemas.microsoft.com/office/drawing/2014/main" id="{8484B784-9A21-5346-B2A6-6BA631846E3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946822D2-629C-4389-A90C-E67B18E07077}" type="datetime1">
              <a:rPr lang="en-US" noProof="0" smtClean="0"/>
              <a:t>11/1/2023</a:t>
            </a:fld>
            <a:endParaRPr lang="en-US" noProof="0"/>
          </a:p>
        </p:txBody>
      </p:sp>
      <p:sp>
        <p:nvSpPr>
          <p:cNvPr id="17" name="Platshållare för sidfot 4">
            <a:extLst>
              <a:ext uri="{FF2B5EF4-FFF2-40B4-BE49-F238E27FC236}">
                <a16:creationId xmlns:a16="http://schemas.microsoft.com/office/drawing/2014/main" id="{955F9113-DA62-B146-B028-59AA4C8F85F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6FEAA033-CF77-9242-8C81-8C8DA5690778}"/>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0" name="Text Placeholder 4">
            <a:extLst>
              <a:ext uri="{FF2B5EF4-FFF2-40B4-BE49-F238E27FC236}">
                <a16:creationId xmlns:a16="http://schemas.microsoft.com/office/drawing/2014/main" id="{9C994672-C586-454D-ABE5-E160AD756DE0}"/>
              </a:ext>
            </a:extLst>
          </p:cNvPr>
          <p:cNvSpPr>
            <a:spLocks noGrp="1"/>
          </p:cNvSpPr>
          <p:nvPr>
            <p:ph type="body" sz="quarter" idx="23"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306244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 Four Images Percentage">
    <p:bg>
      <p:bgPr>
        <a:solidFill>
          <a:schemeClr val="bg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794AD3A-B730-0944-AAFA-F8EE554E7682}"/>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4" name="Picture Placeholder 13">
            <a:extLst>
              <a:ext uri="{FF2B5EF4-FFF2-40B4-BE49-F238E27FC236}">
                <a16:creationId xmlns:a16="http://schemas.microsoft.com/office/drawing/2014/main" id="{FF008750-47A3-4D46-89C6-9F1EFAE7170D}"/>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9" name="Picture Placeholder 28">
            <a:extLst>
              <a:ext uri="{FF2B5EF4-FFF2-40B4-BE49-F238E27FC236}">
                <a16:creationId xmlns:a16="http://schemas.microsoft.com/office/drawing/2014/main" id="{C37FC6B3-B9C9-A04F-8FCD-09803B9D6C38}"/>
              </a:ext>
            </a:extLst>
          </p:cNvPr>
          <p:cNvSpPr>
            <a:spLocks noGrp="1"/>
          </p:cNvSpPr>
          <p:nvPr>
            <p:ph type="pic" sz="quarter" idx="17" hasCustomPrompt="1"/>
          </p:nvPr>
        </p:nvSpPr>
        <p:spPr>
          <a:xfrm>
            <a:off x="4" y="3429002"/>
            <a:ext cx="6095996" cy="3428998"/>
          </a:xfrm>
          <a:custGeom>
            <a:avLst/>
            <a:gdLst>
              <a:gd name="connsiteX0" fmla="*/ 1146049 w 6095996"/>
              <a:gd name="connsiteY0" fmla="*/ 3041536 h 3428998"/>
              <a:gd name="connsiteX1" fmla="*/ 1157832 w 6095996"/>
              <a:gd name="connsiteY1" fmla="*/ 3076509 h 3428998"/>
              <a:gd name="connsiteX2" fmla="*/ 1134642 w 6095996"/>
              <a:gd name="connsiteY2" fmla="*/ 3076509 h 3428998"/>
              <a:gd name="connsiteX3" fmla="*/ 788169 w 6095996"/>
              <a:gd name="connsiteY3" fmla="*/ 3041536 h 3428998"/>
              <a:gd name="connsiteX4" fmla="*/ 799952 w 6095996"/>
              <a:gd name="connsiteY4" fmla="*/ 3076509 h 3428998"/>
              <a:gd name="connsiteX5" fmla="*/ 776762 w 6095996"/>
              <a:gd name="connsiteY5" fmla="*/ 3076509 h 3428998"/>
              <a:gd name="connsiteX6" fmla="*/ 1132323 w 6095996"/>
              <a:gd name="connsiteY6" fmla="*/ 3022545 h 3428998"/>
              <a:gd name="connsiteX7" fmla="*/ 1100859 w 6095996"/>
              <a:gd name="connsiteY7" fmla="*/ 3113676 h 3428998"/>
              <a:gd name="connsiteX8" fmla="*/ 1123109 w 6095996"/>
              <a:gd name="connsiteY8" fmla="*/ 3113676 h 3428998"/>
              <a:gd name="connsiteX9" fmla="*/ 1128876 w 6095996"/>
              <a:gd name="connsiteY9" fmla="*/ 3095062 h 3428998"/>
              <a:gd name="connsiteX10" fmla="*/ 1163786 w 6095996"/>
              <a:gd name="connsiteY10" fmla="*/ 3095062 h 3428998"/>
              <a:gd name="connsiteX11" fmla="*/ 1169740 w 6095996"/>
              <a:gd name="connsiteY11" fmla="*/ 3113676 h 3428998"/>
              <a:gd name="connsiteX12" fmla="*/ 1191614 w 6095996"/>
              <a:gd name="connsiteY12" fmla="*/ 3113676 h 3428998"/>
              <a:gd name="connsiteX13" fmla="*/ 1159148 w 6095996"/>
              <a:gd name="connsiteY13" fmla="*/ 3022545 h 3428998"/>
              <a:gd name="connsiteX14" fmla="*/ 961907 w 6095996"/>
              <a:gd name="connsiteY14" fmla="*/ 3022545 h 3428998"/>
              <a:gd name="connsiteX15" fmla="*/ 933640 w 6095996"/>
              <a:gd name="connsiteY15" fmla="*/ 3050248 h 3428998"/>
              <a:gd name="connsiteX16" fmla="*/ 961907 w 6095996"/>
              <a:gd name="connsiteY16" fmla="*/ 3076823 h 3428998"/>
              <a:gd name="connsiteX17" fmla="*/ 983467 w 6095996"/>
              <a:gd name="connsiteY17" fmla="*/ 3076823 h 3428998"/>
              <a:gd name="connsiteX18" fmla="*/ 991678 w 6095996"/>
              <a:gd name="connsiteY18" fmla="*/ 3085284 h 3428998"/>
              <a:gd name="connsiteX19" fmla="*/ 983467 w 6095996"/>
              <a:gd name="connsiteY19" fmla="*/ 3093745 h 3428998"/>
              <a:gd name="connsiteX20" fmla="*/ 937338 w 6095996"/>
              <a:gd name="connsiteY20" fmla="*/ 3093745 h 3428998"/>
              <a:gd name="connsiteX21" fmla="*/ 937338 w 6095996"/>
              <a:gd name="connsiteY21" fmla="*/ 3113676 h 3428998"/>
              <a:gd name="connsiteX22" fmla="*/ 982715 w 6095996"/>
              <a:gd name="connsiteY22" fmla="*/ 3113676 h 3428998"/>
              <a:gd name="connsiteX23" fmla="*/ 1011358 w 6095996"/>
              <a:gd name="connsiteY23" fmla="*/ 3085284 h 3428998"/>
              <a:gd name="connsiteX24" fmla="*/ 986727 w 6095996"/>
              <a:gd name="connsiteY24" fmla="*/ 3058709 h 3428998"/>
              <a:gd name="connsiteX25" fmla="*/ 961907 w 6095996"/>
              <a:gd name="connsiteY25" fmla="*/ 3058709 h 3428998"/>
              <a:gd name="connsiteX26" fmla="*/ 953320 w 6095996"/>
              <a:gd name="connsiteY26" fmla="*/ 3050248 h 3428998"/>
              <a:gd name="connsiteX27" fmla="*/ 961907 w 6095996"/>
              <a:gd name="connsiteY27" fmla="*/ 3041787 h 3428998"/>
              <a:gd name="connsiteX28" fmla="*/ 1004965 w 6095996"/>
              <a:gd name="connsiteY28" fmla="*/ 3041787 h 3428998"/>
              <a:gd name="connsiteX29" fmla="*/ 1004965 w 6095996"/>
              <a:gd name="connsiteY29" fmla="*/ 3022545 h 3428998"/>
              <a:gd name="connsiteX30" fmla="*/ 841570 w 6095996"/>
              <a:gd name="connsiteY30" fmla="*/ 3022545 h 3428998"/>
              <a:gd name="connsiteX31" fmla="*/ 841570 w 6095996"/>
              <a:gd name="connsiteY31" fmla="*/ 3113676 h 3428998"/>
              <a:gd name="connsiteX32" fmla="*/ 862691 w 6095996"/>
              <a:gd name="connsiteY32" fmla="*/ 3113676 h 3428998"/>
              <a:gd name="connsiteX33" fmla="*/ 862691 w 6095996"/>
              <a:gd name="connsiteY33" fmla="*/ 3057456 h 3428998"/>
              <a:gd name="connsiteX34" fmla="*/ 898981 w 6095996"/>
              <a:gd name="connsiteY34" fmla="*/ 3113488 h 3428998"/>
              <a:gd name="connsiteX35" fmla="*/ 898981 w 6095996"/>
              <a:gd name="connsiteY35" fmla="*/ 3113676 h 3428998"/>
              <a:gd name="connsiteX36" fmla="*/ 920855 w 6095996"/>
              <a:gd name="connsiteY36" fmla="*/ 3113676 h 3428998"/>
              <a:gd name="connsiteX37" fmla="*/ 920792 w 6095996"/>
              <a:gd name="connsiteY37" fmla="*/ 3093996 h 3428998"/>
              <a:gd name="connsiteX38" fmla="*/ 920667 w 6095996"/>
              <a:gd name="connsiteY38" fmla="*/ 3022545 h 3428998"/>
              <a:gd name="connsiteX39" fmla="*/ 899670 w 6095996"/>
              <a:gd name="connsiteY39" fmla="*/ 3022545 h 3428998"/>
              <a:gd name="connsiteX40" fmla="*/ 899670 w 6095996"/>
              <a:gd name="connsiteY40" fmla="*/ 3079831 h 3428998"/>
              <a:gd name="connsiteX41" fmla="*/ 863067 w 6095996"/>
              <a:gd name="connsiteY41" fmla="*/ 3022545 h 3428998"/>
              <a:gd name="connsiteX42" fmla="*/ 774443 w 6095996"/>
              <a:gd name="connsiteY42" fmla="*/ 3022545 h 3428998"/>
              <a:gd name="connsiteX43" fmla="*/ 742918 w 6095996"/>
              <a:gd name="connsiteY43" fmla="*/ 3113676 h 3428998"/>
              <a:gd name="connsiteX44" fmla="*/ 765167 w 6095996"/>
              <a:gd name="connsiteY44" fmla="*/ 3113676 h 3428998"/>
              <a:gd name="connsiteX45" fmla="*/ 770934 w 6095996"/>
              <a:gd name="connsiteY45" fmla="*/ 3095062 h 3428998"/>
              <a:gd name="connsiteX46" fmla="*/ 805844 w 6095996"/>
              <a:gd name="connsiteY46" fmla="*/ 3095062 h 3428998"/>
              <a:gd name="connsiteX47" fmla="*/ 811798 w 6095996"/>
              <a:gd name="connsiteY47" fmla="*/ 3113676 h 3428998"/>
              <a:gd name="connsiteX48" fmla="*/ 833735 w 6095996"/>
              <a:gd name="connsiteY48" fmla="*/ 3113676 h 3428998"/>
              <a:gd name="connsiteX49" fmla="*/ 801269 w 6095996"/>
              <a:gd name="connsiteY49" fmla="*/ 3022545 h 3428998"/>
              <a:gd name="connsiteX50" fmla="*/ 604403 w 6095996"/>
              <a:gd name="connsiteY50" fmla="*/ 3022545 h 3428998"/>
              <a:gd name="connsiteX51" fmla="*/ 576136 w 6095996"/>
              <a:gd name="connsiteY51" fmla="*/ 3050248 h 3428998"/>
              <a:gd name="connsiteX52" fmla="*/ 604403 w 6095996"/>
              <a:gd name="connsiteY52" fmla="*/ 3076823 h 3428998"/>
              <a:gd name="connsiteX53" fmla="*/ 625964 w 6095996"/>
              <a:gd name="connsiteY53" fmla="*/ 3076823 h 3428998"/>
              <a:gd name="connsiteX54" fmla="*/ 634174 w 6095996"/>
              <a:gd name="connsiteY54" fmla="*/ 3085284 h 3428998"/>
              <a:gd name="connsiteX55" fmla="*/ 625964 w 6095996"/>
              <a:gd name="connsiteY55" fmla="*/ 3093745 h 3428998"/>
              <a:gd name="connsiteX56" fmla="*/ 579772 w 6095996"/>
              <a:gd name="connsiteY56" fmla="*/ 3093745 h 3428998"/>
              <a:gd name="connsiteX57" fmla="*/ 579772 w 6095996"/>
              <a:gd name="connsiteY57" fmla="*/ 3113676 h 3428998"/>
              <a:gd name="connsiteX58" fmla="*/ 625149 w 6095996"/>
              <a:gd name="connsiteY58" fmla="*/ 3113676 h 3428998"/>
              <a:gd name="connsiteX59" fmla="*/ 653792 w 6095996"/>
              <a:gd name="connsiteY59" fmla="*/ 3085284 h 3428998"/>
              <a:gd name="connsiteX60" fmla="*/ 629223 w 6095996"/>
              <a:gd name="connsiteY60" fmla="*/ 3058709 h 3428998"/>
              <a:gd name="connsiteX61" fmla="*/ 604403 w 6095996"/>
              <a:gd name="connsiteY61" fmla="*/ 3058709 h 3428998"/>
              <a:gd name="connsiteX62" fmla="*/ 595817 w 6095996"/>
              <a:gd name="connsiteY62" fmla="*/ 3050248 h 3428998"/>
              <a:gd name="connsiteX63" fmla="*/ 604403 w 6095996"/>
              <a:gd name="connsiteY63" fmla="*/ 3041787 h 3428998"/>
              <a:gd name="connsiteX64" fmla="*/ 647461 w 6095996"/>
              <a:gd name="connsiteY64" fmla="*/ 3041787 h 3428998"/>
              <a:gd name="connsiteX65" fmla="*/ 647461 w 6095996"/>
              <a:gd name="connsiteY65" fmla="*/ 3022545 h 3428998"/>
              <a:gd name="connsiteX66" fmla="*/ 1023956 w 6095996"/>
              <a:gd name="connsiteY66" fmla="*/ 3022482 h 3428998"/>
              <a:gd name="connsiteX67" fmla="*/ 1023956 w 6095996"/>
              <a:gd name="connsiteY67" fmla="*/ 3113676 h 3428998"/>
              <a:gd name="connsiteX68" fmla="*/ 1045015 w 6095996"/>
              <a:gd name="connsiteY68" fmla="*/ 3113676 h 3428998"/>
              <a:gd name="connsiteX69" fmla="*/ 1045015 w 6095996"/>
              <a:gd name="connsiteY69" fmla="*/ 3075193 h 3428998"/>
              <a:gd name="connsiteX70" fmla="*/ 1074975 w 6095996"/>
              <a:gd name="connsiteY70" fmla="*/ 3113676 h 3428998"/>
              <a:gd name="connsiteX71" fmla="*/ 1099481 w 6095996"/>
              <a:gd name="connsiteY71" fmla="*/ 3113676 h 3428998"/>
              <a:gd name="connsiteX72" fmla="*/ 1065009 w 6095996"/>
              <a:gd name="connsiteY72" fmla="*/ 3068111 h 3428998"/>
              <a:gd name="connsiteX73" fmla="*/ 1099481 w 6095996"/>
              <a:gd name="connsiteY73" fmla="*/ 3022482 h 3428998"/>
              <a:gd name="connsiteX74" fmla="*/ 1074975 w 6095996"/>
              <a:gd name="connsiteY74" fmla="*/ 3022482 h 3428998"/>
              <a:gd name="connsiteX75" fmla="*/ 1045015 w 6095996"/>
              <a:gd name="connsiteY75" fmla="*/ 3060965 h 3428998"/>
              <a:gd name="connsiteX76" fmla="*/ 1045015 w 6095996"/>
              <a:gd name="connsiteY76" fmla="*/ 3022482 h 3428998"/>
              <a:gd name="connsiteX77" fmla="*/ 666076 w 6095996"/>
              <a:gd name="connsiteY77" fmla="*/ 3022482 h 3428998"/>
              <a:gd name="connsiteX78" fmla="*/ 666076 w 6095996"/>
              <a:gd name="connsiteY78" fmla="*/ 3113676 h 3428998"/>
              <a:gd name="connsiteX79" fmla="*/ 687073 w 6095996"/>
              <a:gd name="connsiteY79" fmla="*/ 3113676 h 3428998"/>
              <a:gd name="connsiteX80" fmla="*/ 687073 w 6095996"/>
              <a:gd name="connsiteY80" fmla="*/ 3075193 h 3428998"/>
              <a:gd name="connsiteX81" fmla="*/ 717032 w 6095996"/>
              <a:gd name="connsiteY81" fmla="*/ 3113676 h 3428998"/>
              <a:gd name="connsiteX82" fmla="*/ 741601 w 6095996"/>
              <a:gd name="connsiteY82" fmla="*/ 3113676 h 3428998"/>
              <a:gd name="connsiteX83" fmla="*/ 707067 w 6095996"/>
              <a:gd name="connsiteY83" fmla="*/ 3068111 h 3428998"/>
              <a:gd name="connsiteX84" fmla="*/ 741601 w 6095996"/>
              <a:gd name="connsiteY84" fmla="*/ 3022482 h 3428998"/>
              <a:gd name="connsiteX85" fmla="*/ 717032 w 6095996"/>
              <a:gd name="connsiteY85" fmla="*/ 3022482 h 3428998"/>
              <a:gd name="connsiteX86" fmla="*/ 687073 w 6095996"/>
              <a:gd name="connsiteY86" fmla="*/ 3060965 h 3428998"/>
              <a:gd name="connsiteX87" fmla="*/ 687073 w 6095996"/>
              <a:gd name="connsiteY87" fmla="*/ 3022482 h 3428998"/>
              <a:gd name="connsiteX88" fmla="*/ 0 w 6095996"/>
              <a:gd name="connsiteY88" fmla="*/ 0 h 3428998"/>
              <a:gd name="connsiteX89" fmla="*/ 6095996 w 6095996"/>
              <a:gd name="connsiteY89" fmla="*/ 0 h 3428998"/>
              <a:gd name="connsiteX90" fmla="*/ 6095996 w 6095996"/>
              <a:gd name="connsiteY90" fmla="*/ 3428998 h 3428998"/>
              <a:gd name="connsiteX91" fmla="*/ 0 w 6095996"/>
              <a:gd name="connsiteY91" fmla="*/ 3428998 h 342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5996" h="3428998">
                <a:moveTo>
                  <a:pt x="1146049" y="3041536"/>
                </a:moveTo>
                <a:lnTo>
                  <a:pt x="1157832" y="3076509"/>
                </a:lnTo>
                <a:lnTo>
                  <a:pt x="1134642" y="3076509"/>
                </a:lnTo>
                <a:close/>
                <a:moveTo>
                  <a:pt x="788169" y="3041536"/>
                </a:moveTo>
                <a:lnTo>
                  <a:pt x="799952" y="3076509"/>
                </a:lnTo>
                <a:lnTo>
                  <a:pt x="776762" y="3076509"/>
                </a:lnTo>
                <a:close/>
                <a:moveTo>
                  <a:pt x="1132323" y="3022545"/>
                </a:moveTo>
                <a:lnTo>
                  <a:pt x="1100859" y="3113676"/>
                </a:lnTo>
                <a:lnTo>
                  <a:pt x="1123109" y="3113676"/>
                </a:lnTo>
                <a:lnTo>
                  <a:pt x="1128876" y="3095062"/>
                </a:lnTo>
                <a:lnTo>
                  <a:pt x="1163786" y="3095062"/>
                </a:lnTo>
                <a:lnTo>
                  <a:pt x="1169740" y="3113676"/>
                </a:lnTo>
                <a:lnTo>
                  <a:pt x="1191614" y="3113676"/>
                </a:lnTo>
                <a:lnTo>
                  <a:pt x="1159148" y="3022545"/>
                </a:lnTo>
                <a:close/>
                <a:moveTo>
                  <a:pt x="961907" y="3022545"/>
                </a:moveTo>
                <a:cubicBezTo>
                  <a:pt x="944358" y="3022545"/>
                  <a:pt x="933640" y="3032824"/>
                  <a:pt x="933640" y="3050248"/>
                </a:cubicBezTo>
                <a:cubicBezTo>
                  <a:pt x="933640" y="3067672"/>
                  <a:pt x="945987" y="3076823"/>
                  <a:pt x="961907" y="3076823"/>
                </a:cubicBezTo>
                <a:lnTo>
                  <a:pt x="983467" y="3076823"/>
                </a:lnTo>
                <a:cubicBezTo>
                  <a:pt x="988920" y="3076823"/>
                  <a:pt x="991678" y="3080959"/>
                  <a:pt x="991678" y="3085284"/>
                </a:cubicBezTo>
                <a:cubicBezTo>
                  <a:pt x="991678" y="3089734"/>
                  <a:pt x="988920" y="3093745"/>
                  <a:pt x="983467" y="3093745"/>
                </a:cubicBezTo>
                <a:lnTo>
                  <a:pt x="937338" y="3093745"/>
                </a:lnTo>
                <a:lnTo>
                  <a:pt x="937338" y="3113676"/>
                </a:lnTo>
                <a:lnTo>
                  <a:pt x="982715" y="3113676"/>
                </a:lnTo>
                <a:cubicBezTo>
                  <a:pt x="1000703" y="3113676"/>
                  <a:pt x="1011358" y="3103774"/>
                  <a:pt x="1011358" y="3085284"/>
                </a:cubicBezTo>
                <a:cubicBezTo>
                  <a:pt x="1011358" y="3068612"/>
                  <a:pt x="1000641" y="3058709"/>
                  <a:pt x="986727" y="3058709"/>
                </a:cubicBezTo>
                <a:lnTo>
                  <a:pt x="961907" y="3058709"/>
                </a:lnTo>
                <a:cubicBezTo>
                  <a:pt x="956078" y="3058709"/>
                  <a:pt x="953320" y="3054698"/>
                  <a:pt x="953320" y="3050248"/>
                </a:cubicBezTo>
                <a:cubicBezTo>
                  <a:pt x="953320" y="3045798"/>
                  <a:pt x="956078" y="3041787"/>
                  <a:pt x="961907" y="3041787"/>
                </a:cubicBezTo>
                <a:lnTo>
                  <a:pt x="1004965" y="3041787"/>
                </a:lnTo>
                <a:lnTo>
                  <a:pt x="1004965" y="3022545"/>
                </a:lnTo>
                <a:close/>
                <a:moveTo>
                  <a:pt x="841570" y="3022545"/>
                </a:moveTo>
                <a:lnTo>
                  <a:pt x="841570" y="3113676"/>
                </a:lnTo>
                <a:lnTo>
                  <a:pt x="862691" y="3113676"/>
                </a:lnTo>
                <a:lnTo>
                  <a:pt x="862691" y="3057456"/>
                </a:lnTo>
                <a:lnTo>
                  <a:pt x="898981" y="3113488"/>
                </a:lnTo>
                <a:lnTo>
                  <a:pt x="898981" y="3113676"/>
                </a:lnTo>
                <a:lnTo>
                  <a:pt x="920855" y="3113676"/>
                </a:lnTo>
                <a:lnTo>
                  <a:pt x="920792" y="3093996"/>
                </a:lnTo>
                <a:lnTo>
                  <a:pt x="920667" y="3022545"/>
                </a:lnTo>
                <a:lnTo>
                  <a:pt x="899670" y="3022545"/>
                </a:lnTo>
                <a:lnTo>
                  <a:pt x="899670" y="3079831"/>
                </a:lnTo>
                <a:lnTo>
                  <a:pt x="863067" y="3022545"/>
                </a:lnTo>
                <a:close/>
                <a:moveTo>
                  <a:pt x="774443" y="3022545"/>
                </a:moveTo>
                <a:lnTo>
                  <a:pt x="742918" y="3113676"/>
                </a:lnTo>
                <a:lnTo>
                  <a:pt x="765167" y="3113676"/>
                </a:lnTo>
                <a:lnTo>
                  <a:pt x="770934" y="3095062"/>
                </a:lnTo>
                <a:lnTo>
                  <a:pt x="805844" y="3095062"/>
                </a:lnTo>
                <a:lnTo>
                  <a:pt x="811798" y="3113676"/>
                </a:lnTo>
                <a:lnTo>
                  <a:pt x="833735" y="3113676"/>
                </a:lnTo>
                <a:lnTo>
                  <a:pt x="801269" y="3022545"/>
                </a:lnTo>
                <a:close/>
                <a:moveTo>
                  <a:pt x="604403" y="3022545"/>
                </a:moveTo>
                <a:cubicBezTo>
                  <a:pt x="586791" y="3022545"/>
                  <a:pt x="576136" y="3032824"/>
                  <a:pt x="576136" y="3050248"/>
                </a:cubicBezTo>
                <a:cubicBezTo>
                  <a:pt x="576136" y="3067672"/>
                  <a:pt x="588484" y="3076823"/>
                  <a:pt x="604403" y="3076823"/>
                </a:cubicBezTo>
                <a:lnTo>
                  <a:pt x="625964" y="3076823"/>
                </a:lnTo>
                <a:cubicBezTo>
                  <a:pt x="631416" y="3076823"/>
                  <a:pt x="634174" y="3080959"/>
                  <a:pt x="634174" y="3085284"/>
                </a:cubicBezTo>
                <a:cubicBezTo>
                  <a:pt x="634174" y="3089734"/>
                  <a:pt x="631416" y="3093745"/>
                  <a:pt x="625964" y="3093745"/>
                </a:cubicBezTo>
                <a:lnTo>
                  <a:pt x="579772" y="3093745"/>
                </a:lnTo>
                <a:lnTo>
                  <a:pt x="579772" y="3113676"/>
                </a:lnTo>
                <a:lnTo>
                  <a:pt x="625149" y="3113676"/>
                </a:lnTo>
                <a:cubicBezTo>
                  <a:pt x="643137" y="3113676"/>
                  <a:pt x="653792" y="3103774"/>
                  <a:pt x="653792" y="3085284"/>
                </a:cubicBezTo>
                <a:cubicBezTo>
                  <a:pt x="653792" y="3068612"/>
                  <a:pt x="643137" y="3058709"/>
                  <a:pt x="629223" y="3058709"/>
                </a:cubicBezTo>
                <a:lnTo>
                  <a:pt x="604403" y="3058709"/>
                </a:lnTo>
                <a:cubicBezTo>
                  <a:pt x="598574" y="3058709"/>
                  <a:pt x="595817" y="3054698"/>
                  <a:pt x="595817" y="3050248"/>
                </a:cubicBezTo>
                <a:cubicBezTo>
                  <a:pt x="595817" y="3045798"/>
                  <a:pt x="598574" y="3041787"/>
                  <a:pt x="604403" y="3041787"/>
                </a:cubicBezTo>
                <a:lnTo>
                  <a:pt x="647461" y="3041787"/>
                </a:lnTo>
                <a:lnTo>
                  <a:pt x="647461" y="3022545"/>
                </a:lnTo>
                <a:close/>
                <a:moveTo>
                  <a:pt x="1023956" y="3022482"/>
                </a:moveTo>
                <a:lnTo>
                  <a:pt x="1023956" y="3113676"/>
                </a:lnTo>
                <a:lnTo>
                  <a:pt x="1045015" y="3113676"/>
                </a:lnTo>
                <a:lnTo>
                  <a:pt x="1045015" y="3075193"/>
                </a:lnTo>
                <a:lnTo>
                  <a:pt x="1074975" y="3113676"/>
                </a:lnTo>
                <a:lnTo>
                  <a:pt x="1099481" y="3113676"/>
                </a:lnTo>
                <a:lnTo>
                  <a:pt x="1065009" y="3068111"/>
                </a:lnTo>
                <a:lnTo>
                  <a:pt x="1099481" y="3022482"/>
                </a:lnTo>
                <a:lnTo>
                  <a:pt x="1074975" y="3022482"/>
                </a:lnTo>
                <a:lnTo>
                  <a:pt x="1045015" y="3060965"/>
                </a:lnTo>
                <a:lnTo>
                  <a:pt x="1045015" y="3022482"/>
                </a:lnTo>
                <a:close/>
                <a:moveTo>
                  <a:pt x="666076" y="3022482"/>
                </a:moveTo>
                <a:lnTo>
                  <a:pt x="666076" y="3113676"/>
                </a:lnTo>
                <a:lnTo>
                  <a:pt x="687073" y="3113676"/>
                </a:lnTo>
                <a:lnTo>
                  <a:pt x="687073" y="3075193"/>
                </a:lnTo>
                <a:lnTo>
                  <a:pt x="717032" y="3113676"/>
                </a:lnTo>
                <a:lnTo>
                  <a:pt x="741601" y="3113676"/>
                </a:lnTo>
                <a:lnTo>
                  <a:pt x="707067" y="3068111"/>
                </a:lnTo>
                <a:lnTo>
                  <a:pt x="741601" y="3022482"/>
                </a:lnTo>
                <a:lnTo>
                  <a:pt x="717032" y="3022482"/>
                </a:lnTo>
                <a:lnTo>
                  <a:pt x="687073" y="3060965"/>
                </a:lnTo>
                <a:lnTo>
                  <a:pt x="687073" y="3022482"/>
                </a:lnTo>
                <a:close/>
                <a:moveTo>
                  <a:pt x="0" y="0"/>
                </a:moveTo>
                <a:lnTo>
                  <a:pt x="6095996" y="0"/>
                </a:lnTo>
                <a:lnTo>
                  <a:pt x="6095996"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8" name="Picture Placeholder 17">
            <a:extLst>
              <a:ext uri="{FF2B5EF4-FFF2-40B4-BE49-F238E27FC236}">
                <a16:creationId xmlns:a16="http://schemas.microsoft.com/office/drawing/2014/main" id="{1D8C10B2-C5B9-8C42-AAE6-7022794E8D33}"/>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8" name="Text Placeholder 18">
            <a:extLst>
              <a:ext uri="{FF2B5EF4-FFF2-40B4-BE49-F238E27FC236}">
                <a16:creationId xmlns:a16="http://schemas.microsoft.com/office/drawing/2014/main" id="{2DF6F143-809A-5045-8C63-0CB7DDC37D20}"/>
              </a:ext>
            </a:extLst>
          </p:cNvPr>
          <p:cNvSpPr>
            <a:spLocks noGrp="1"/>
          </p:cNvSpPr>
          <p:nvPr>
            <p:ph type="body" sz="quarter" idx="35" hasCustomPrompt="1"/>
          </p:nvPr>
        </p:nvSpPr>
        <p:spPr>
          <a:xfrm>
            <a:off x="3088267" y="1300220"/>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0" name="Text Placeholder 18">
            <a:extLst>
              <a:ext uri="{FF2B5EF4-FFF2-40B4-BE49-F238E27FC236}">
                <a16:creationId xmlns:a16="http://schemas.microsoft.com/office/drawing/2014/main" id="{9304EB74-76ED-4B45-9D59-3E0FE9DA6187}"/>
              </a:ext>
            </a:extLst>
          </p:cNvPr>
          <p:cNvSpPr>
            <a:spLocks noGrp="1"/>
          </p:cNvSpPr>
          <p:nvPr>
            <p:ph type="body" sz="quarter" idx="36" hasCustomPrompt="1"/>
          </p:nvPr>
        </p:nvSpPr>
        <p:spPr>
          <a:xfrm>
            <a:off x="953647" y="1300220"/>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33" name="Text Placeholder 18">
            <a:extLst>
              <a:ext uri="{FF2B5EF4-FFF2-40B4-BE49-F238E27FC236}">
                <a16:creationId xmlns:a16="http://schemas.microsoft.com/office/drawing/2014/main" id="{3FD14E92-C0C8-364E-BEAC-3BDE33210C69}"/>
              </a:ext>
            </a:extLst>
          </p:cNvPr>
          <p:cNvSpPr>
            <a:spLocks noGrp="1"/>
          </p:cNvSpPr>
          <p:nvPr>
            <p:ph type="body" sz="quarter" idx="37" hasCustomPrompt="1"/>
          </p:nvPr>
        </p:nvSpPr>
        <p:spPr>
          <a:xfrm>
            <a:off x="3088267" y="4729219"/>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4" name="Text Placeholder 18">
            <a:extLst>
              <a:ext uri="{FF2B5EF4-FFF2-40B4-BE49-F238E27FC236}">
                <a16:creationId xmlns:a16="http://schemas.microsoft.com/office/drawing/2014/main" id="{C3C27830-0043-6743-8610-2CB87E45DD43}"/>
              </a:ext>
            </a:extLst>
          </p:cNvPr>
          <p:cNvSpPr>
            <a:spLocks noGrp="1"/>
          </p:cNvSpPr>
          <p:nvPr>
            <p:ph type="body" sz="quarter" idx="38" hasCustomPrompt="1"/>
          </p:nvPr>
        </p:nvSpPr>
        <p:spPr>
          <a:xfrm>
            <a:off x="953647" y="4729219"/>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35" name="Text Placeholder 18">
            <a:extLst>
              <a:ext uri="{FF2B5EF4-FFF2-40B4-BE49-F238E27FC236}">
                <a16:creationId xmlns:a16="http://schemas.microsoft.com/office/drawing/2014/main" id="{6DE9334C-562A-5C4C-BB8C-952C00B60182}"/>
              </a:ext>
            </a:extLst>
          </p:cNvPr>
          <p:cNvSpPr>
            <a:spLocks noGrp="1"/>
          </p:cNvSpPr>
          <p:nvPr>
            <p:ph type="body" sz="quarter" idx="39" hasCustomPrompt="1"/>
          </p:nvPr>
        </p:nvSpPr>
        <p:spPr>
          <a:xfrm>
            <a:off x="8762237" y="1300220"/>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6" name="Text Placeholder 18">
            <a:extLst>
              <a:ext uri="{FF2B5EF4-FFF2-40B4-BE49-F238E27FC236}">
                <a16:creationId xmlns:a16="http://schemas.microsoft.com/office/drawing/2014/main" id="{4B5F202E-21CC-1B4D-A21D-5E824680D7C3}"/>
              </a:ext>
            </a:extLst>
          </p:cNvPr>
          <p:cNvSpPr>
            <a:spLocks noGrp="1"/>
          </p:cNvSpPr>
          <p:nvPr>
            <p:ph type="body" sz="quarter" idx="40" hasCustomPrompt="1"/>
          </p:nvPr>
        </p:nvSpPr>
        <p:spPr>
          <a:xfrm>
            <a:off x="6627617" y="1300220"/>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37" name="Text Placeholder 18">
            <a:extLst>
              <a:ext uri="{FF2B5EF4-FFF2-40B4-BE49-F238E27FC236}">
                <a16:creationId xmlns:a16="http://schemas.microsoft.com/office/drawing/2014/main" id="{8D75ACEF-8209-9749-9CB8-7EA7DA9892D4}"/>
              </a:ext>
            </a:extLst>
          </p:cNvPr>
          <p:cNvSpPr>
            <a:spLocks noGrp="1"/>
          </p:cNvSpPr>
          <p:nvPr>
            <p:ph type="body" sz="quarter" idx="41" hasCustomPrompt="1"/>
          </p:nvPr>
        </p:nvSpPr>
        <p:spPr>
          <a:xfrm>
            <a:off x="8762237" y="4729219"/>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8" name="Text Placeholder 18">
            <a:extLst>
              <a:ext uri="{FF2B5EF4-FFF2-40B4-BE49-F238E27FC236}">
                <a16:creationId xmlns:a16="http://schemas.microsoft.com/office/drawing/2014/main" id="{1469836C-111D-B74A-A176-3FEDB9A33016}"/>
              </a:ext>
            </a:extLst>
          </p:cNvPr>
          <p:cNvSpPr>
            <a:spLocks noGrp="1"/>
          </p:cNvSpPr>
          <p:nvPr>
            <p:ph type="body" sz="quarter" idx="42" hasCustomPrompt="1"/>
          </p:nvPr>
        </p:nvSpPr>
        <p:spPr>
          <a:xfrm>
            <a:off x="6627617" y="4729219"/>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17" name="textruta 5">
            <a:extLst>
              <a:ext uri="{FF2B5EF4-FFF2-40B4-BE49-F238E27FC236}">
                <a16:creationId xmlns:a16="http://schemas.microsoft.com/office/drawing/2014/main" id="{E90C3209-4C05-3C43-B48E-1ECBEF52FBA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9" name="textruta 18">
            <a:extLst>
              <a:ext uri="{FF2B5EF4-FFF2-40B4-BE49-F238E27FC236}">
                <a16:creationId xmlns:a16="http://schemas.microsoft.com/office/drawing/2014/main" id="{88F68831-1F31-F148-A602-C4C4933E8B69}"/>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20" name="Rektangel 19">
            <a:extLst>
              <a:ext uri="{FF2B5EF4-FFF2-40B4-BE49-F238E27FC236}">
                <a16:creationId xmlns:a16="http://schemas.microsoft.com/office/drawing/2014/main" id="{C29F9589-B689-ED44-8A45-2DD215DCBD1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ktangel 20">
            <a:extLst>
              <a:ext uri="{FF2B5EF4-FFF2-40B4-BE49-F238E27FC236}">
                <a16:creationId xmlns:a16="http://schemas.microsoft.com/office/drawing/2014/main" id="{B0464F1E-024A-AA42-97B1-2B23E046CA94}"/>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Platshållare för datum 3">
            <a:extLst>
              <a:ext uri="{FF2B5EF4-FFF2-40B4-BE49-F238E27FC236}">
                <a16:creationId xmlns:a16="http://schemas.microsoft.com/office/drawing/2014/main" id="{AD71DE8A-70D0-DF46-9215-74304BF95816}"/>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A0C2F09B-2A2F-45FA-B725-337215E87E38}" type="datetime1">
              <a:rPr lang="en-US" smtClean="0"/>
              <a:t>11/1/2023</a:t>
            </a:fld>
            <a:endParaRPr lang="en-US"/>
          </a:p>
        </p:txBody>
      </p:sp>
      <p:sp>
        <p:nvSpPr>
          <p:cNvPr id="23" name="Platshållare för sidfot 4">
            <a:extLst>
              <a:ext uri="{FF2B5EF4-FFF2-40B4-BE49-F238E27FC236}">
                <a16:creationId xmlns:a16="http://schemas.microsoft.com/office/drawing/2014/main" id="{51D5C77F-E4FC-CE46-8460-3ECBA17B7451}"/>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4" name="Platshållare för bildnummer 5">
            <a:extLst>
              <a:ext uri="{FF2B5EF4-FFF2-40B4-BE49-F238E27FC236}">
                <a16:creationId xmlns:a16="http://schemas.microsoft.com/office/drawing/2014/main" id="{69DE8965-1F24-2141-B9C3-65976942F2F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5" name="Text Placeholder 4">
            <a:extLst>
              <a:ext uri="{FF2B5EF4-FFF2-40B4-BE49-F238E27FC236}">
                <a16:creationId xmlns:a16="http://schemas.microsoft.com/office/drawing/2014/main" id="{FE0E1D06-6CCE-1142-8EDF-E1C3A54A7FD1}"/>
              </a:ext>
            </a:extLst>
          </p:cNvPr>
          <p:cNvSpPr>
            <a:spLocks noGrp="1"/>
          </p:cNvSpPr>
          <p:nvPr>
            <p:ph type="body" sz="quarter" idx="43"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739985EA-42BD-7B49-BFB3-4CC099D34377}"/>
              </a:ext>
            </a:extLst>
          </p:cNvPr>
          <p:cNvSpPr>
            <a:spLocks noGrp="1"/>
          </p:cNvSpPr>
          <p:nvPr>
            <p:ph type="body" sz="quarter" idx="44" hasCustomPrompt="1"/>
          </p:nvPr>
        </p:nvSpPr>
        <p:spPr>
          <a:xfrm rot="5400000">
            <a:off x="4805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7" name="Text Placeholder 4">
            <a:extLst>
              <a:ext uri="{FF2B5EF4-FFF2-40B4-BE49-F238E27FC236}">
                <a16:creationId xmlns:a16="http://schemas.microsoft.com/office/drawing/2014/main" id="{768BF38A-9DCF-A849-8886-2CB394E1E2A9}"/>
              </a:ext>
            </a:extLst>
          </p:cNvPr>
          <p:cNvSpPr>
            <a:spLocks noGrp="1"/>
          </p:cNvSpPr>
          <p:nvPr>
            <p:ph type="body" sz="quarter" idx="45" hasCustomPrompt="1"/>
          </p:nvPr>
        </p:nvSpPr>
        <p:spPr>
          <a:xfrm rot="5400000">
            <a:off x="4805730" y="4232646"/>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31" name="Text Placeholder 4">
            <a:extLst>
              <a:ext uri="{FF2B5EF4-FFF2-40B4-BE49-F238E27FC236}">
                <a16:creationId xmlns:a16="http://schemas.microsoft.com/office/drawing/2014/main" id="{2F363A2B-194E-9D4E-91E2-5DE1EBFE1122}"/>
              </a:ext>
            </a:extLst>
          </p:cNvPr>
          <p:cNvSpPr>
            <a:spLocks noGrp="1"/>
          </p:cNvSpPr>
          <p:nvPr>
            <p:ph type="body" sz="quarter" idx="46" hasCustomPrompt="1"/>
          </p:nvPr>
        </p:nvSpPr>
        <p:spPr>
          <a:xfrm rot="5400000">
            <a:off x="10901730" y="4232646"/>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5464972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 Headline Text">
    <p:spTree>
      <p:nvGrpSpPr>
        <p:cNvPr id="1" name=""/>
        <p:cNvGrpSpPr/>
        <p:nvPr/>
      </p:nvGrpSpPr>
      <p:grpSpPr>
        <a:xfrm>
          <a:off x="0" y="0"/>
          <a:ext cx="0" cy="0"/>
          <a:chOff x="0" y="0"/>
          <a:chExt cx="0" cy="0"/>
        </a:xfrm>
      </p:grpSpPr>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ext Placeholder 18">
            <a:extLst>
              <a:ext uri="{FF2B5EF4-FFF2-40B4-BE49-F238E27FC236}">
                <a16:creationId xmlns:a16="http://schemas.microsoft.com/office/drawing/2014/main" id="{A6ED295F-AFF0-3548-BAA8-8DAFA2BDE3F6}"/>
              </a:ext>
            </a:extLst>
          </p:cNvPr>
          <p:cNvSpPr>
            <a:spLocks noGrp="1"/>
          </p:cNvSpPr>
          <p:nvPr>
            <p:ph type="body" sz="quarter" idx="14" hasCustomPrompt="1"/>
          </p:nvPr>
        </p:nvSpPr>
        <p:spPr>
          <a:xfrm>
            <a:off x="576000" y="731027"/>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p:txBody>
      </p:sp>
      <p:sp>
        <p:nvSpPr>
          <p:cNvPr id="25" name="Platshållare för text 11">
            <a:extLst>
              <a:ext uri="{FF2B5EF4-FFF2-40B4-BE49-F238E27FC236}">
                <a16:creationId xmlns:a16="http://schemas.microsoft.com/office/drawing/2014/main" id="{2E8EBC9E-D535-B04E-BD8C-391B61C35F12}"/>
              </a:ext>
            </a:extLst>
          </p:cNvPr>
          <p:cNvSpPr>
            <a:spLocks noGrp="1"/>
          </p:cNvSpPr>
          <p:nvPr>
            <p:ph type="body" sz="quarter" idx="20"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5" name="Platshållare för datum 3">
            <a:extLst>
              <a:ext uri="{FF2B5EF4-FFF2-40B4-BE49-F238E27FC236}">
                <a16:creationId xmlns:a16="http://schemas.microsoft.com/office/drawing/2014/main" id="{733CC2DA-8DFA-764F-8E5E-F7A7044146E6}"/>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A1FE3B9A-0BD3-47BC-82C7-FE340AD17031}" type="datetime1">
              <a:rPr lang="en-US" noProof="0" smtClean="0"/>
              <a:t>11/1/2023</a:t>
            </a:fld>
            <a:endParaRPr lang="en-US" noProof="0"/>
          </a:p>
        </p:txBody>
      </p:sp>
      <p:sp>
        <p:nvSpPr>
          <p:cNvPr id="16" name="Platshållare för sidfot 4">
            <a:extLst>
              <a:ext uri="{FF2B5EF4-FFF2-40B4-BE49-F238E27FC236}">
                <a16:creationId xmlns:a16="http://schemas.microsoft.com/office/drawing/2014/main" id="{067D4784-F924-C644-B32C-74F9BB27C9B2}"/>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7" name="Platshållare för bildnummer 5">
            <a:extLst>
              <a:ext uri="{FF2B5EF4-FFF2-40B4-BE49-F238E27FC236}">
                <a16:creationId xmlns:a16="http://schemas.microsoft.com/office/drawing/2014/main" id="{31F4C005-599D-6342-ABC7-0A72573226B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1941113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Title Start Image Blue">
    <p:bg>
      <p:bgPr>
        <a:solidFill>
          <a:schemeClr val="tx2"/>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5EEAE91-E57E-6747-89AA-18B1431204B2}"/>
              </a:ext>
            </a:extLst>
          </p:cNvPr>
          <p:cNvSpPr>
            <a:spLocks noGrp="1"/>
          </p:cNvSpPr>
          <p:nvPr>
            <p:ph type="pic" sz="quarter" idx="13" hasCustomPrompt="1"/>
          </p:nvPr>
        </p:nvSpPr>
        <p:spPr>
          <a:xfrm>
            <a:off x="3" y="3"/>
            <a:ext cx="12191998" cy="6857998"/>
          </a:xfrm>
          <a:custGeom>
            <a:avLst/>
            <a:gdLst>
              <a:gd name="connsiteX0" fmla="*/ 936965 w 12191998"/>
              <a:gd name="connsiteY0" fmla="*/ 389410 h 6857998"/>
              <a:gd name="connsiteX1" fmla="*/ 957275 w 12191998"/>
              <a:gd name="connsiteY1" fmla="*/ 449691 h 6857998"/>
              <a:gd name="connsiteX2" fmla="*/ 917304 w 12191998"/>
              <a:gd name="connsiteY2" fmla="*/ 449691 h 6857998"/>
              <a:gd name="connsiteX3" fmla="*/ 1553818 w 12191998"/>
              <a:gd name="connsiteY3" fmla="*/ 389410 h 6857998"/>
              <a:gd name="connsiteX4" fmla="*/ 1574127 w 12191998"/>
              <a:gd name="connsiteY4" fmla="*/ 449690 h 6857998"/>
              <a:gd name="connsiteX5" fmla="*/ 1534156 w 12191998"/>
              <a:gd name="connsiteY5" fmla="*/ 449690 h 6857998"/>
              <a:gd name="connsiteX6" fmla="*/ 1029007 w 12191998"/>
              <a:gd name="connsiteY6" fmla="*/ 356677 h 6857998"/>
              <a:gd name="connsiteX7" fmla="*/ 1029007 w 12191998"/>
              <a:gd name="connsiteY7" fmla="*/ 513753 h 6857998"/>
              <a:gd name="connsiteX8" fmla="*/ 1065413 w 12191998"/>
              <a:gd name="connsiteY8" fmla="*/ 513753 h 6857998"/>
              <a:gd name="connsiteX9" fmla="*/ 1065413 w 12191998"/>
              <a:gd name="connsiteY9" fmla="*/ 416850 h 6857998"/>
              <a:gd name="connsiteX10" fmla="*/ 1127963 w 12191998"/>
              <a:gd name="connsiteY10" fmla="*/ 513429 h 6857998"/>
              <a:gd name="connsiteX11" fmla="*/ 1127963 w 12191998"/>
              <a:gd name="connsiteY11" fmla="*/ 513753 h 6857998"/>
              <a:gd name="connsiteX12" fmla="*/ 1165665 w 12191998"/>
              <a:gd name="connsiteY12" fmla="*/ 513753 h 6857998"/>
              <a:gd name="connsiteX13" fmla="*/ 1165557 w 12191998"/>
              <a:gd name="connsiteY13" fmla="*/ 479831 h 6857998"/>
              <a:gd name="connsiteX14" fmla="*/ 1165341 w 12191998"/>
              <a:gd name="connsiteY14" fmla="*/ 356677 h 6857998"/>
              <a:gd name="connsiteX15" fmla="*/ 1129151 w 12191998"/>
              <a:gd name="connsiteY15" fmla="*/ 356677 h 6857998"/>
              <a:gd name="connsiteX16" fmla="*/ 1129151 w 12191998"/>
              <a:gd name="connsiteY16" fmla="*/ 455416 h 6857998"/>
              <a:gd name="connsiteX17" fmla="*/ 1066062 w 12191998"/>
              <a:gd name="connsiteY17" fmla="*/ 356677 h 6857998"/>
              <a:gd name="connsiteX18" fmla="*/ 913306 w 12191998"/>
              <a:gd name="connsiteY18" fmla="*/ 356677 h 6857998"/>
              <a:gd name="connsiteX19" fmla="*/ 858967 w 12191998"/>
              <a:gd name="connsiteY19" fmla="*/ 513753 h 6857998"/>
              <a:gd name="connsiteX20" fmla="*/ 897318 w 12191998"/>
              <a:gd name="connsiteY20" fmla="*/ 513753 h 6857998"/>
              <a:gd name="connsiteX21" fmla="*/ 907257 w 12191998"/>
              <a:gd name="connsiteY21" fmla="*/ 481668 h 6857998"/>
              <a:gd name="connsiteX22" fmla="*/ 967430 w 12191998"/>
              <a:gd name="connsiteY22" fmla="*/ 481668 h 6857998"/>
              <a:gd name="connsiteX23" fmla="*/ 977693 w 12191998"/>
              <a:gd name="connsiteY23" fmla="*/ 513753 h 6857998"/>
              <a:gd name="connsiteX24" fmla="*/ 1015503 w 12191998"/>
              <a:gd name="connsiteY24" fmla="*/ 513753 h 6857998"/>
              <a:gd name="connsiteX25" fmla="*/ 959543 w 12191998"/>
              <a:gd name="connsiteY25" fmla="*/ 356677 h 6857998"/>
              <a:gd name="connsiteX26" fmla="*/ 620219 w 12191998"/>
              <a:gd name="connsiteY26" fmla="*/ 356677 h 6857998"/>
              <a:gd name="connsiteX27" fmla="*/ 571498 w 12191998"/>
              <a:gd name="connsiteY27" fmla="*/ 404426 h 6857998"/>
              <a:gd name="connsiteX28" fmla="*/ 620219 w 12191998"/>
              <a:gd name="connsiteY28" fmla="*/ 450231 h 6857998"/>
              <a:gd name="connsiteX29" fmla="*/ 657382 w 12191998"/>
              <a:gd name="connsiteY29" fmla="*/ 450231 h 6857998"/>
              <a:gd name="connsiteX30" fmla="*/ 671534 w 12191998"/>
              <a:gd name="connsiteY30" fmla="*/ 464815 h 6857998"/>
              <a:gd name="connsiteX31" fmla="*/ 657382 w 12191998"/>
              <a:gd name="connsiteY31" fmla="*/ 479399 h 6857998"/>
              <a:gd name="connsiteX32" fmla="*/ 577764 w 12191998"/>
              <a:gd name="connsiteY32" fmla="*/ 479399 h 6857998"/>
              <a:gd name="connsiteX33" fmla="*/ 577764 w 12191998"/>
              <a:gd name="connsiteY33" fmla="*/ 513753 h 6857998"/>
              <a:gd name="connsiteX34" fmla="*/ 655977 w 12191998"/>
              <a:gd name="connsiteY34" fmla="*/ 513753 h 6857998"/>
              <a:gd name="connsiteX35" fmla="*/ 705347 w 12191998"/>
              <a:gd name="connsiteY35" fmla="*/ 464815 h 6857998"/>
              <a:gd name="connsiteX36" fmla="*/ 662999 w 12191998"/>
              <a:gd name="connsiteY36" fmla="*/ 419010 h 6857998"/>
              <a:gd name="connsiteX37" fmla="*/ 620219 w 12191998"/>
              <a:gd name="connsiteY37" fmla="*/ 419010 h 6857998"/>
              <a:gd name="connsiteX38" fmla="*/ 605419 w 12191998"/>
              <a:gd name="connsiteY38" fmla="*/ 404426 h 6857998"/>
              <a:gd name="connsiteX39" fmla="*/ 620219 w 12191998"/>
              <a:gd name="connsiteY39" fmla="*/ 389842 h 6857998"/>
              <a:gd name="connsiteX40" fmla="*/ 694436 w 12191998"/>
              <a:gd name="connsiteY40" fmla="*/ 389842 h 6857998"/>
              <a:gd name="connsiteX41" fmla="*/ 694436 w 12191998"/>
              <a:gd name="connsiteY41" fmla="*/ 356677 h 6857998"/>
              <a:gd name="connsiteX42" fmla="*/ 1530159 w 12191998"/>
              <a:gd name="connsiteY42" fmla="*/ 356676 h 6857998"/>
              <a:gd name="connsiteX43" fmla="*/ 1475928 w 12191998"/>
              <a:gd name="connsiteY43" fmla="*/ 513752 h 6857998"/>
              <a:gd name="connsiteX44" fmla="*/ 1514278 w 12191998"/>
              <a:gd name="connsiteY44" fmla="*/ 513752 h 6857998"/>
              <a:gd name="connsiteX45" fmla="*/ 1524217 w 12191998"/>
              <a:gd name="connsiteY45" fmla="*/ 481668 h 6857998"/>
              <a:gd name="connsiteX46" fmla="*/ 1584390 w 12191998"/>
              <a:gd name="connsiteY46" fmla="*/ 481668 h 6857998"/>
              <a:gd name="connsiteX47" fmla="*/ 1594653 w 12191998"/>
              <a:gd name="connsiteY47" fmla="*/ 513752 h 6857998"/>
              <a:gd name="connsiteX48" fmla="*/ 1632356 w 12191998"/>
              <a:gd name="connsiteY48" fmla="*/ 513752 h 6857998"/>
              <a:gd name="connsiteX49" fmla="*/ 1576396 w 12191998"/>
              <a:gd name="connsiteY49" fmla="*/ 356676 h 6857998"/>
              <a:gd name="connsiteX50" fmla="*/ 1236424 w 12191998"/>
              <a:gd name="connsiteY50" fmla="*/ 356676 h 6857998"/>
              <a:gd name="connsiteX51" fmla="*/ 1187702 w 12191998"/>
              <a:gd name="connsiteY51" fmla="*/ 404426 h 6857998"/>
              <a:gd name="connsiteX52" fmla="*/ 1236424 w 12191998"/>
              <a:gd name="connsiteY52" fmla="*/ 450231 h 6857998"/>
              <a:gd name="connsiteX53" fmla="*/ 1273587 w 12191998"/>
              <a:gd name="connsiteY53" fmla="*/ 450231 h 6857998"/>
              <a:gd name="connsiteX54" fmla="*/ 1287739 w 12191998"/>
              <a:gd name="connsiteY54" fmla="*/ 464815 h 6857998"/>
              <a:gd name="connsiteX55" fmla="*/ 1273587 w 12191998"/>
              <a:gd name="connsiteY55" fmla="*/ 479399 h 6857998"/>
              <a:gd name="connsiteX56" fmla="*/ 1194076 w 12191998"/>
              <a:gd name="connsiteY56" fmla="*/ 479399 h 6857998"/>
              <a:gd name="connsiteX57" fmla="*/ 1194076 w 12191998"/>
              <a:gd name="connsiteY57" fmla="*/ 513752 h 6857998"/>
              <a:gd name="connsiteX58" fmla="*/ 1272290 w 12191998"/>
              <a:gd name="connsiteY58" fmla="*/ 513752 h 6857998"/>
              <a:gd name="connsiteX59" fmla="*/ 1321660 w 12191998"/>
              <a:gd name="connsiteY59" fmla="*/ 464815 h 6857998"/>
              <a:gd name="connsiteX60" fmla="*/ 1279204 w 12191998"/>
              <a:gd name="connsiteY60" fmla="*/ 419010 h 6857998"/>
              <a:gd name="connsiteX61" fmla="*/ 1236424 w 12191998"/>
              <a:gd name="connsiteY61" fmla="*/ 419010 h 6857998"/>
              <a:gd name="connsiteX62" fmla="*/ 1221624 w 12191998"/>
              <a:gd name="connsiteY62" fmla="*/ 404426 h 6857998"/>
              <a:gd name="connsiteX63" fmla="*/ 1236424 w 12191998"/>
              <a:gd name="connsiteY63" fmla="*/ 389842 h 6857998"/>
              <a:gd name="connsiteX64" fmla="*/ 1310641 w 12191998"/>
              <a:gd name="connsiteY64" fmla="*/ 389842 h 6857998"/>
              <a:gd name="connsiteX65" fmla="*/ 1310641 w 12191998"/>
              <a:gd name="connsiteY65" fmla="*/ 356676 h 6857998"/>
              <a:gd name="connsiteX66" fmla="*/ 726522 w 12191998"/>
              <a:gd name="connsiteY66" fmla="*/ 356568 h 6857998"/>
              <a:gd name="connsiteX67" fmla="*/ 726522 w 12191998"/>
              <a:gd name="connsiteY67" fmla="*/ 513752 h 6857998"/>
              <a:gd name="connsiteX68" fmla="*/ 762712 w 12191998"/>
              <a:gd name="connsiteY68" fmla="*/ 513752 h 6857998"/>
              <a:gd name="connsiteX69" fmla="*/ 762712 w 12191998"/>
              <a:gd name="connsiteY69" fmla="*/ 447422 h 6857998"/>
              <a:gd name="connsiteX70" fmla="*/ 814351 w 12191998"/>
              <a:gd name="connsiteY70" fmla="*/ 513752 h 6857998"/>
              <a:gd name="connsiteX71" fmla="*/ 856699 w 12191998"/>
              <a:gd name="connsiteY71" fmla="*/ 513752 h 6857998"/>
              <a:gd name="connsiteX72" fmla="*/ 797174 w 12191998"/>
              <a:gd name="connsiteY72" fmla="*/ 435214 h 6857998"/>
              <a:gd name="connsiteX73" fmla="*/ 856699 w 12191998"/>
              <a:gd name="connsiteY73" fmla="*/ 356568 h 6857998"/>
              <a:gd name="connsiteX74" fmla="*/ 814351 w 12191998"/>
              <a:gd name="connsiteY74" fmla="*/ 356568 h 6857998"/>
              <a:gd name="connsiteX75" fmla="*/ 762712 w 12191998"/>
              <a:gd name="connsiteY75" fmla="*/ 422899 h 6857998"/>
              <a:gd name="connsiteX76" fmla="*/ 762712 w 12191998"/>
              <a:gd name="connsiteY76" fmla="*/ 356568 h 6857998"/>
              <a:gd name="connsiteX77" fmla="*/ 1343374 w 12191998"/>
              <a:gd name="connsiteY77" fmla="*/ 356568 h 6857998"/>
              <a:gd name="connsiteX78" fmla="*/ 1343374 w 12191998"/>
              <a:gd name="connsiteY78" fmla="*/ 513752 h 6857998"/>
              <a:gd name="connsiteX79" fmla="*/ 1379673 w 12191998"/>
              <a:gd name="connsiteY79" fmla="*/ 513752 h 6857998"/>
              <a:gd name="connsiteX80" fmla="*/ 1379673 w 12191998"/>
              <a:gd name="connsiteY80" fmla="*/ 447422 h 6857998"/>
              <a:gd name="connsiteX81" fmla="*/ 1431311 w 12191998"/>
              <a:gd name="connsiteY81" fmla="*/ 513752 h 6857998"/>
              <a:gd name="connsiteX82" fmla="*/ 1473551 w 12191998"/>
              <a:gd name="connsiteY82" fmla="*/ 513752 h 6857998"/>
              <a:gd name="connsiteX83" fmla="*/ 1414134 w 12191998"/>
              <a:gd name="connsiteY83" fmla="*/ 435214 h 6857998"/>
              <a:gd name="connsiteX84" fmla="*/ 1473551 w 12191998"/>
              <a:gd name="connsiteY84" fmla="*/ 356568 h 6857998"/>
              <a:gd name="connsiteX85" fmla="*/ 1431311 w 12191998"/>
              <a:gd name="connsiteY85" fmla="*/ 356568 h 6857998"/>
              <a:gd name="connsiteX86" fmla="*/ 1379673 w 12191998"/>
              <a:gd name="connsiteY86" fmla="*/ 422899 h 6857998"/>
              <a:gd name="connsiteX87" fmla="*/ 1379673 w 12191998"/>
              <a:gd name="connsiteY87" fmla="*/ 356568 h 6857998"/>
              <a:gd name="connsiteX88" fmla="*/ 0 w 12191998"/>
              <a:gd name="connsiteY88" fmla="*/ 0 h 6857998"/>
              <a:gd name="connsiteX89" fmla="*/ 12191998 w 12191998"/>
              <a:gd name="connsiteY89" fmla="*/ 0 h 6857998"/>
              <a:gd name="connsiteX90" fmla="*/ 12191998 w 12191998"/>
              <a:gd name="connsiteY90" fmla="*/ 6857998 h 6857998"/>
              <a:gd name="connsiteX91" fmla="*/ 0 w 12191998"/>
              <a:gd name="connsiteY91"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8" h="6857998">
                <a:moveTo>
                  <a:pt x="936965" y="389410"/>
                </a:moveTo>
                <a:lnTo>
                  <a:pt x="957275" y="449691"/>
                </a:lnTo>
                <a:lnTo>
                  <a:pt x="917304" y="449691"/>
                </a:lnTo>
                <a:close/>
                <a:moveTo>
                  <a:pt x="1553818" y="389410"/>
                </a:moveTo>
                <a:lnTo>
                  <a:pt x="1574127" y="449690"/>
                </a:lnTo>
                <a:lnTo>
                  <a:pt x="1534156" y="449690"/>
                </a:lnTo>
                <a:close/>
                <a:moveTo>
                  <a:pt x="1029007" y="356677"/>
                </a:moveTo>
                <a:lnTo>
                  <a:pt x="1029007" y="513753"/>
                </a:lnTo>
                <a:lnTo>
                  <a:pt x="1065413" y="513753"/>
                </a:lnTo>
                <a:lnTo>
                  <a:pt x="1065413" y="416850"/>
                </a:lnTo>
                <a:lnTo>
                  <a:pt x="1127963" y="513429"/>
                </a:lnTo>
                <a:lnTo>
                  <a:pt x="1127963" y="513753"/>
                </a:lnTo>
                <a:lnTo>
                  <a:pt x="1165665" y="513753"/>
                </a:lnTo>
                <a:lnTo>
                  <a:pt x="1165557" y="479831"/>
                </a:lnTo>
                <a:lnTo>
                  <a:pt x="1165341" y="356677"/>
                </a:lnTo>
                <a:lnTo>
                  <a:pt x="1129151" y="356677"/>
                </a:lnTo>
                <a:lnTo>
                  <a:pt x="1129151" y="455416"/>
                </a:lnTo>
                <a:lnTo>
                  <a:pt x="1066062" y="356677"/>
                </a:lnTo>
                <a:close/>
                <a:moveTo>
                  <a:pt x="913306" y="356677"/>
                </a:moveTo>
                <a:lnTo>
                  <a:pt x="858967" y="513753"/>
                </a:lnTo>
                <a:lnTo>
                  <a:pt x="897318" y="513753"/>
                </a:lnTo>
                <a:lnTo>
                  <a:pt x="907257" y="481668"/>
                </a:lnTo>
                <a:lnTo>
                  <a:pt x="967430" y="481668"/>
                </a:lnTo>
                <a:lnTo>
                  <a:pt x="977693" y="513753"/>
                </a:lnTo>
                <a:lnTo>
                  <a:pt x="1015503" y="513753"/>
                </a:lnTo>
                <a:lnTo>
                  <a:pt x="959543" y="356677"/>
                </a:lnTo>
                <a:close/>
                <a:moveTo>
                  <a:pt x="620219" y="356677"/>
                </a:moveTo>
                <a:cubicBezTo>
                  <a:pt x="589863" y="356677"/>
                  <a:pt x="571498" y="374393"/>
                  <a:pt x="571498" y="404426"/>
                </a:cubicBezTo>
                <a:cubicBezTo>
                  <a:pt x="571498" y="434458"/>
                  <a:pt x="592780" y="450231"/>
                  <a:pt x="620219" y="450231"/>
                </a:cubicBezTo>
                <a:lnTo>
                  <a:pt x="657382" y="450231"/>
                </a:lnTo>
                <a:cubicBezTo>
                  <a:pt x="666780" y="450231"/>
                  <a:pt x="671534" y="457361"/>
                  <a:pt x="671534" y="464815"/>
                </a:cubicBezTo>
                <a:cubicBezTo>
                  <a:pt x="671534" y="472485"/>
                  <a:pt x="666780" y="479399"/>
                  <a:pt x="657382" y="479399"/>
                </a:cubicBezTo>
                <a:lnTo>
                  <a:pt x="577764" y="479399"/>
                </a:lnTo>
                <a:lnTo>
                  <a:pt x="577764" y="513753"/>
                </a:lnTo>
                <a:lnTo>
                  <a:pt x="655977" y="513753"/>
                </a:lnTo>
                <a:cubicBezTo>
                  <a:pt x="686982" y="513753"/>
                  <a:pt x="705347" y="496684"/>
                  <a:pt x="705347" y="464815"/>
                </a:cubicBezTo>
                <a:cubicBezTo>
                  <a:pt x="705347" y="436079"/>
                  <a:pt x="686982" y="419010"/>
                  <a:pt x="662999" y="419010"/>
                </a:cubicBezTo>
                <a:lnTo>
                  <a:pt x="620219" y="419010"/>
                </a:lnTo>
                <a:cubicBezTo>
                  <a:pt x="610173" y="419010"/>
                  <a:pt x="605419" y="412096"/>
                  <a:pt x="605419" y="404426"/>
                </a:cubicBezTo>
                <a:cubicBezTo>
                  <a:pt x="605419" y="396756"/>
                  <a:pt x="610173" y="389842"/>
                  <a:pt x="620219" y="389842"/>
                </a:cubicBezTo>
                <a:lnTo>
                  <a:pt x="694436" y="389842"/>
                </a:lnTo>
                <a:lnTo>
                  <a:pt x="694436" y="356677"/>
                </a:lnTo>
                <a:close/>
                <a:moveTo>
                  <a:pt x="1530159" y="356676"/>
                </a:moveTo>
                <a:lnTo>
                  <a:pt x="1475928" y="513752"/>
                </a:lnTo>
                <a:lnTo>
                  <a:pt x="1514278" y="513752"/>
                </a:lnTo>
                <a:lnTo>
                  <a:pt x="1524217" y="481668"/>
                </a:lnTo>
                <a:lnTo>
                  <a:pt x="1584390" y="481668"/>
                </a:lnTo>
                <a:lnTo>
                  <a:pt x="1594653" y="513752"/>
                </a:lnTo>
                <a:lnTo>
                  <a:pt x="1632356" y="513752"/>
                </a:lnTo>
                <a:lnTo>
                  <a:pt x="1576396" y="356676"/>
                </a:lnTo>
                <a:close/>
                <a:moveTo>
                  <a:pt x="1236424" y="356676"/>
                </a:moveTo>
                <a:cubicBezTo>
                  <a:pt x="1206176" y="356676"/>
                  <a:pt x="1187702" y="374393"/>
                  <a:pt x="1187702" y="404426"/>
                </a:cubicBezTo>
                <a:cubicBezTo>
                  <a:pt x="1187702" y="434458"/>
                  <a:pt x="1208984" y="450231"/>
                  <a:pt x="1236424" y="450231"/>
                </a:cubicBezTo>
                <a:lnTo>
                  <a:pt x="1273587" y="450231"/>
                </a:lnTo>
                <a:cubicBezTo>
                  <a:pt x="1282985" y="450231"/>
                  <a:pt x="1287739" y="457360"/>
                  <a:pt x="1287739" y="464815"/>
                </a:cubicBezTo>
                <a:cubicBezTo>
                  <a:pt x="1287739" y="472485"/>
                  <a:pt x="1282985" y="479399"/>
                  <a:pt x="1273587" y="479399"/>
                </a:cubicBezTo>
                <a:lnTo>
                  <a:pt x="1194076" y="479399"/>
                </a:lnTo>
                <a:lnTo>
                  <a:pt x="1194076" y="513752"/>
                </a:lnTo>
                <a:lnTo>
                  <a:pt x="1272290" y="513752"/>
                </a:lnTo>
                <a:cubicBezTo>
                  <a:pt x="1303295" y="513752"/>
                  <a:pt x="1321660" y="496684"/>
                  <a:pt x="1321660" y="464815"/>
                </a:cubicBezTo>
                <a:cubicBezTo>
                  <a:pt x="1321660" y="436079"/>
                  <a:pt x="1303187" y="419010"/>
                  <a:pt x="1279204" y="419010"/>
                </a:cubicBezTo>
                <a:lnTo>
                  <a:pt x="1236424" y="419010"/>
                </a:lnTo>
                <a:cubicBezTo>
                  <a:pt x="1226377" y="419010"/>
                  <a:pt x="1221624" y="412096"/>
                  <a:pt x="1221624" y="404426"/>
                </a:cubicBezTo>
                <a:cubicBezTo>
                  <a:pt x="1221624" y="396756"/>
                  <a:pt x="1226377" y="389842"/>
                  <a:pt x="1236424" y="389842"/>
                </a:cubicBezTo>
                <a:lnTo>
                  <a:pt x="1310641" y="389842"/>
                </a:lnTo>
                <a:lnTo>
                  <a:pt x="1310641" y="356676"/>
                </a:lnTo>
                <a:close/>
                <a:moveTo>
                  <a:pt x="726522" y="356568"/>
                </a:moveTo>
                <a:lnTo>
                  <a:pt x="726522" y="513752"/>
                </a:lnTo>
                <a:lnTo>
                  <a:pt x="762712" y="513752"/>
                </a:lnTo>
                <a:lnTo>
                  <a:pt x="762712" y="447422"/>
                </a:lnTo>
                <a:lnTo>
                  <a:pt x="814351" y="513752"/>
                </a:lnTo>
                <a:lnTo>
                  <a:pt x="856699" y="513752"/>
                </a:lnTo>
                <a:lnTo>
                  <a:pt x="797174" y="435214"/>
                </a:lnTo>
                <a:lnTo>
                  <a:pt x="856699" y="356568"/>
                </a:lnTo>
                <a:lnTo>
                  <a:pt x="814351" y="356568"/>
                </a:lnTo>
                <a:lnTo>
                  <a:pt x="762712" y="422899"/>
                </a:lnTo>
                <a:lnTo>
                  <a:pt x="762712" y="356568"/>
                </a:lnTo>
                <a:close/>
                <a:moveTo>
                  <a:pt x="1343374" y="356568"/>
                </a:moveTo>
                <a:lnTo>
                  <a:pt x="1343374" y="513752"/>
                </a:lnTo>
                <a:lnTo>
                  <a:pt x="1379673" y="513752"/>
                </a:lnTo>
                <a:lnTo>
                  <a:pt x="1379673" y="447422"/>
                </a:lnTo>
                <a:lnTo>
                  <a:pt x="1431311" y="513752"/>
                </a:lnTo>
                <a:lnTo>
                  <a:pt x="1473551" y="513752"/>
                </a:lnTo>
                <a:lnTo>
                  <a:pt x="1414134" y="435214"/>
                </a:lnTo>
                <a:lnTo>
                  <a:pt x="1473551" y="356568"/>
                </a:lnTo>
                <a:lnTo>
                  <a:pt x="1431311" y="356568"/>
                </a:lnTo>
                <a:lnTo>
                  <a:pt x="1379673" y="422899"/>
                </a:lnTo>
                <a:lnTo>
                  <a:pt x="1379673" y="356568"/>
                </a:lnTo>
                <a:close/>
                <a:moveTo>
                  <a:pt x="0" y="0"/>
                </a:moveTo>
                <a:lnTo>
                  <a:pt x="12191998" y="0"/>
                </a:lnTo>
                <a:lnTo>
                  <a:pt x="12191998" y="6857998"/>
                </a:lnTo>
                <a:lnTo>
                  <a:pt x="0" y="6857998"/>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7" name="Text Placeholder 18">
            <a:extLst>
              <a:ext uri="{FF2B5EF4-FFF2-40B4-BE49-F238E27FC236}">
                <a16:creationId xmlns:a16="http://schemas.microsoft.com/office/drawing/2014/main" id="{8FE87EE4-F8DA-4F40-B4CD-A892BA20AD03}"/>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accent1"/>
                </a:solidFill>
                <a:latin typeface="+mj-lt"/>
              </a:defRPr>
            </a:lvl1pPr>
          </a:lstStyle>
          <a:p>
            <a:pPr lvl="0"/>
            <a:r>
              <a:rPr lang="en-US" noProof="0" dirty="0"/>
              <a:t>Click to add a headline </a:t>
            </a:r>
            <a:br>
              <a:rPr lang="en-US" noProof="0" dirty="0"/>
            </a:br>
            <a:r>
              <a:rPr lang="en-US" noProof="0" dirty="0"/>
              <a:t>of maximum two lines</a:t>
            </a:r>
          </a:p>
        </p:txBody>
      </p:sp>
      <p:sp>
        <p:nvSpPr>
          <p:cNvPr id="18" name="Text Placeholder 18">
            <a:extLst>
              <a:ext uri="{FF2B5EF4-FFF2-40B4-BE49-F238E27FC236}">
                <a16:creationId xmlns:a16="http://schemas.microsoft.com/office/drawing/2014/main" id="{599C1913-26BB-DD40-827B-9C508080F48A}"/>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accent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8" name="textruta 5">
            <a:extLst>
              <a:ext uri="{FF2B5EF4-FFF2-40B4-BE49-F238E27FC236}">
                <a16:creationId xmlns:a16="http://schemas.microsoft.com/office/drawing/2014/main" id="{753B49A9-6373-BE4F-ABC3-64C5AB184A78}"/>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04E0EF0D-7851-6B40-A1EB-F8EEC09B316C}"/>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A0AE1B99-39ED-B84C-B91C-49AAA1356FB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76FFDE6E-E3A0-B64F-B635-EC4F5335CBB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F853C689-2D24-9340-B6F2-B4C7EF0EC835}"/>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4E4622A6-76A4-4701-8977-2D717C7EE281}" type="datetime1">
              <a:rPr lang="en-US" noProof="0" smtClean="0"/>
              <a:t>11/1/2023</a:t>
            </a:fld>
            <a:endParaRPr lang="en-US" noProof="0"/>
          </a:p>
        </p:txBody>
      </p:sp>
      <p:sp>
        <p:nvSpPr>
          <p:cNvPr id="13" name="Platshållare för sidfot 4">
            <a:extLst>
              <a:ext uri="{FF2B5EF4-FFF2-40B4-BE49-F238E27FC236}">
                <a16:creationId xmlns:a16="http://schemas.microsoft.com/office/drawing/2014/main" id="{7D950E93-A1A2-DF4E-BFBF-7FBAFF0765E6}"/>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4" name="Platshållare för bildnummer 5">
            <a:extLst>
              <a:ext uri="{FF2B5EF4-FFF2-40B4-BE49-F238E27FC236}">
                <a16:creationId xmlns:a16="http://schemas.microsoft.com/office/drawing/2014/main" id="{0896049F-290F-364E-B24A-2E8B211DF18E}"/>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19" name="Text Placeholder 4">
            <a:extLst>
              <a:ext uri="{FF2B5EF4-FFF2-40B4-BE49-F238E27FC236}">
                <a16:creationId xmlns:a16="http://schemas.microsoft.com/office/drawing/2014/main" id="{28A0355F-8BDD-3A43-8AD2-176096A4C919}"/>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633942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Headline ">
    <p:spTree>
      <p:nvGrpSpPr>
        <p:cNvPr id="1" name=""/>
        <p:cNvGrpSpPr/>
        <p:nvPr/>
      </p:nvGrpSpPr>
      <p:grpSpPr>
        <a:xfrm>
          <a:off x="0" y="0"/>
          <a:ext cx="0" cy="0"/>
          <a:chOff x="0" y="0"/>
          <a:chExt cx="0" cy="0"/>
        </a:xfrm>
      </p:grpSpPr>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ext Placeholder 18">
            <a:extLst>
              <a:ext uri="{FF2B5EF4-FFF2-40B4-BE49-F238E27FC236}">
                <a16:creationId xmlns:a16="http://schemas.microsoft.com/office/drawing/2014/main" id="{A6ED295F-AFF0-3548-BAA8-8DAFA2BDE3F6}"/>
              </a:ext>
            </a:extLst>
          </p:cNvPr>
          <p:cNvSpPr>
            <a:spLocks noGrp="1"/>
          </p:cNvSpPr>
          <p:nvPr>
            <p:ph type="body" sz="quarter" idx="14" hasCustomPrompt="1"/>
          </p:nvPr>
        </p:nvSpPr>
        <p:spPr>
          <a:xfrm>
            <a:off x="576000" y="731027"/>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p:txBody>
      </p:sp>
      <p:sp>
        <p:nvSpPr>
          <p:cNvPr id="14" name="Platshållare för datum 3">
            <a:extLst>
              <a:ext uri="{FF2B5EF4-FFF2-40B4-BE49-F238E27FC236}">
                <a16:creationId xmlns:a16="http://schemas.microsoft.com/office/drawing/2014/main" id="{9C1934A2-EB43-A541-ABF7-DFD6DAC1C1C4}"/>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CD61F9B4-42F4-49D5-B0BB-553FF8FCC873}" type="datetime1">
              <a:rPr lang="en-US" noProof="0" smtClean="0"/>
              <a:t>11/1/2023</a:t>
            </a:fld>
            <a:endParaRPr lang="en-US" noProof="0"/>
          </a:p>
        </p:txBody>
      </p:sp>
      <p:sp>
        <p:nvSpPr>
          <p:cNvPr id="15" name="Platshållare för sidfot 4">
            <a:extLst>
              <a:ext uri="{FF2B5EF4-FFF2-40B4-BE49-F238E27FC236}">
                <a16:creationId xmlns:a16="http://schemas.microsoft.com/office/drawing/2014/main" id="{807641CB-078D-B646-AE67-0C86E0D7644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6" name="Platshållare för bildnummer 5">
            <a:extLst>
              <a:ext uri="{FF2B5EF4-FFF2-40B4-BE49-F238E27FC236}">
                <a16:creationId xmlns:a16="http://schemas.microsoft.com/office/drawing/2014/main" id="{4CB4CD08-4408-2840-8AF0-58D2BC6B5352}"/>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533087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 Text Icon Chart Image">
    <p:bg>
      <p:bgRef idx="1001">
        <a:schemeClr val="bg2"/>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9996D2C-9C03-C349-8592-6BA5B004250B}"/>
              </a:ext>
            </a:extLst>
          </p:cNvPr>
          <p:cNvSpPr/>
          <p:nvPr userDrawn="1"/>
        </p:nvSpPr>
        <p:spPr>
          <a:xfrm>
            <a:off x="0" y="0"/>
            <a:ext cx="4057651"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4057651" y="0"/>
            <a:ext cx="8132760"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bg2"/>
                </a:solidFill>
              </a:defRPr>
            </a:lvl1pPr>
          </a:lstStyle>
          <a:p>
            <a:r>
              <a:rPr lang="en-US" noProof="0"/>
              <a:t>Click on the icon to add an image</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bg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bg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bg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bg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grpSp>
      <p:sp>
        <p:nvSpPr>
          <p:cNvPr id="3" name="Picture Placeholder 2">
            <a:extLst>
              <a:ext uri="{FF2B5EF4-FFF2-40B4-BE49-F238E27FC236}">
                <a16:creationId xmlns:a16="http://schemas.microsoft.com/office/drawing/2014/main" id="{6E176A13-FE45-764E-B91A-CA0FC875F39D}"/>
              </a:ext>
            </a:extLst>
          </p:cNvPr>
          <p:cNvSpPr>
            <a:spLocks noGrp="1"/>
          </p:cNvSpPr>
          <p:nvPr>
            <p:ph type="pic" sz="quarter" idx="31" hasCustomPrompt="1"/>
          </p:nvPr>
        </p:nvSpPr>
        <p:spPr>
          <a:xfrm>
            <a:off x="4359275" y="720725"/>
            <a:ext cx="960438" cy="844550"/>
          </a:xfrm>
        </p:spPr>
        <p:txBody>
          <a:bodyPr/>
          <a:lstStyle>
            <a:lvl1pPr marL="12700" indent="0" algn="ctr">
              <a:buNone/>
              <a:defRPr sz="1300">
                <a:solidFill>
                  <a:schemeClr val="bg2"/>
                </a:solidFill>
              </a:defRPr>
            </a:lvl1pPr>
          </a:lstStyle>
          <a:p>
            <a:r>
              <a:rPr lang="en-US" noProof="0"/>
              <a:t>Click to </a:t>
            </a:r>
            <a:br>
              <a:rPr lang="en-US" noProof="0"/>
            </a:br>
            <a:r>
              <a:rPr lang="en-US" noProof="0"/>
              <a:t>add icon</a:t>
            </a:r>
          </a:p>
        </p:txBody>
      </p:sp>
      <p:sp>
        <p:nvSpPr>
          <p:cNvPr id="26" name="Text Placeholder 7">
            <a:extLst>
              <a:ext uri="{FF2B5EF4-FFF2-40B4-BE49-F238E27FC236}">
                <a16:creationId xmlns:a16="http://schemas.microsoft.com/office/drawing/2014/main" id="{0D3A9D31-7EB1-064E-9796-404FE68E0632}"/>
              </a:ext>
            </a:extLst>
          </p:cNvPr>
          <p:cNvSpPr>
            <a:spLocks noGrp="1"/>
          </p:cNvSpPr>
          <p:nvPr>
            <p:ph type="body" sz="quarter" idx="32" hasCustomPrompt="1"/>
          </p:nvPr>
        </p:nvSpPr>
        <p:spPr>
          <a:xfrm>
            <a:off x="5376961" y="731028"/>
            <a:ext cx="2452589" cy="844550"/>
          </a:xfrm>
        </p:spPr>
        <p:txBody>
          <a:bodyPr/>
          <a:lstStyle>
            <a:lvl1pPr marL="0" indent="0">
              <a:lnSpc>
                <a:spcPct val="100000"/>
              </a:lnSpc>
              <a:spcBef>
                <a:spcPts val="0"/>
              </a:spcBef>
              <a:spcAft>
                <a:spcPts val="800"/>
              </a:spcAft>
              <a:buNone/>
              <a:defRPr sz="1400" b="1" spc="40" baseline="0">
                <a:solidFill>
                  <a:schemeClr val="tx1"/>
                </a:solidFill>
              </a:defRPr>
            </a:lvl1pPr>
            <a:lvl2pPr marL="0" indent="0">
              <a:lnSpc>
                <a:spcPct val="100000"/>
              </a:lnSpc>
              <a:spcBef>
                <a:spcPts val="0"/>
              </a:spcBef>
              <a:spcAft>
                <a:spcPts val="600"/>
              </a:spcAft>
              <a:buNone/>
              <a:defRPr sz="12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9" name="Chart Placeholder 8">
            <a:extLst>
              <a:ext uri="{FF2B5EF4-FFF2-40B4-BE49-F238E27FC236}">
                <a16:creationId xmlns:a16="http://schemas.microsoft.com/office/drawing/2014/main" id="{24D8D89D-9C5F-BF4B-912F-76A7A44AB335}"/>
              </a:ext>
            </a:extLst>
          </p:cNvPr>
          <p:cNvSpPr>
            <a:spLocks noGrp="1"/>
          </p:cNvSpPr>
          <p:nvPr>
            <p:ph type="chart" sz="quarter" idx="33" hasCustomPrompt="1"/>
          </p:nvPr>
        </p:nvSpPr>
        <p:spPr>
          <a:xfrm>
            <a:off x="4220308" y="2889250"/>
            <a:ext cx="3763107" cy="3240088"/>
          </a:xfrm>
        </p:spPr>
        <p:txBody>
          <a:bodyPr/>
          <a:lstStyle>
            <a:lvl1pPr marL="12700" indent="0" algn="ctr">
              <a:buNone/>
              <a:defRPr sz="1300">
                <a:solidFill>
                  <a:schemeClr val="bg2"/>
                </a:solidFill>
              </a:defRPr>
            </a:lvl1pPr>
          </a:lstStyle>
          <a:p>
            <a:r>
              <a:rPr lang="en-US" noProof="0"/>
              <a:t>Click to add chart</a:t>
            </a:r>
          </a:p>
        </p:txBody>
      </p:sp>
      <p:sp>
        <p:nvSpPr>
          <p:cNvPr id="25" name="Text Placeholder 18">
            <a:extLst>
              <a:ext uri="{FF2B5EF4-FFF2-40B4-BE49-F238E27FC236}">
                <a16:creationId xmlns:a16="http://schemas.microsoft.com/office/drawing/2014/main" id="{402B4924-D544-E045-8A5D-5A1B50315EA8}"/>
              </a:ext>
            </a:extLst>
          </p:cNvPr>
          <p:cNvSpPr>
            <a:spLocks noGrp="1"/>
          </p:cNvSpPr>
          <p:nvPr>
            <p:ph type="body" sz="quarter" idx="14" hasCustomPrompt="1"/>
          </p:nvPr>
        </p:nvSpPr>
        <p:spPr>
          <a:xfrm>
            <a:off x="576000" y="731027"/>
            <a:ext cx="3161113" cy="1365942"/>
          </a:xfrm>
          <a:prstGeom prst="rect">
            <a:avLst/>
          </a:prstGeom>
        </p:spPr>
        <p:txBody>
          <a:bodyPr anchor="t">
            <a:noAutofit/>
          </a:bodyPr>
          <a:lstStyle>
            <a:lvl1pPr marL="0" indent="0">
              <a:lnSpc>
                <a:spcPct val="85000"/>
              </a:lnSpc>
              <a:spcBef>
                <a:spcPts val="0"/>
              </a:spcBef>
              <a:buNone/>
              <a:defRPr sz="3600" spc="40" baseline="0">
                <a:solidFill>
                  <a:schemeClr val="bg2"/>
                </a:solidFill>
                <a:latin typeface="+mj-lt"/>
              </a:defRPr>
            </a:lvl1pPr>
          </a:lstStyle>
          <a:p>
            <a:pPr lvl="0"/>
            <a:r>
              <a:rPr lang="en-US" noProof="0" dirty="0"/>
              <a:t>Click for a short headline of three lines</a:t>
            </a:r>
          </a:p>
        </p:txBody>
      </p:sp>
      <p:sp>
        <p:nvSpPr>
          <p:cNvPr id="20" name="Platshållare för text 11">
            <a:extLst>
              <a:ext uri="{FF2B5EF4-FFF2-40B4-BE49-F238E27FC236}">
                <a16:creationId xmlns:a16="http://schemas.microsoft.com/office/drawing/2014/main" id="{4721DB45-968F-184E-B248-24AB3A48401D}"/>
              </a:ext>
            </a:extLst>
          </p:cNvPr>
          <p:cNvSpPr>
            <a:spLocks noGrp="1"/>
          </p:cNvSpPr>
          <p:nvPr>
            <p:ph type="body" sz="quarter" idx="20" hasCustomPrompt="1"/>
          </p:nvPr>
        </p:nvSpPr>
        <p:spPr>
          <a:xfrm>
            <a:off x="576000" y="2527200"/>
            <a:ext cx="3161113" cy="360045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7" name="Platshållare för datum 3">
            <a:extLst>
              <a:ext uri="{FF2B5EF4-FFF2-40B4-BE49-F238E27FC236}">
                <a16:creationId xmlns:a16="http://schemas.microsoft.com/office/drawing/2014/main" id="{FAF9D607-36F1-F548-8BE8-E89D82C2922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2"/>
                </a:solidFill>
              </a:defRPr>
            </a:lvl1pPr>
          </a:lstStyle>
          <a:p>
            <a:fld id="{E67081C8-28EC-48C3-BBD8-02E00BB083BB}" type="datetime1">
              <a:rPr lang="en-US" smtClean="0"/>
              <a:t>11/1/2023</a:t>
            </a:fld>
            <a:endParaRPr lang="en-US"/>
          </a:p>
        </p:txBody>
      </p:sp>
      <p:sp>
        <p:nvSpPr>
          <p:cNvPr id="28" name="Platshållare för sidfot 4">
            <a:extLst>
              <a:ext uri="{FF2B5EF4-FFF2-40B4-BE49-F238E27FC236}">
                <a16:creationId xmlns:a16="http://schemas.microsoft.com/office/drawing/2014/main" id="{2B4D299D-B6A8-FF4E-A311-009CA554292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en-US"/>
              <a:t>Go to header/footer to change text </a:t>
            </a:r>
          </a:p>
        </p:txBody>
      </p:sp>
      <p:sp>
        <p:nvSpPr>
          <p:cNvPr id="29" name="Platshållare för bildnummer 5">
            <a:extLst>
              <a:ext uri="{FF2B5EF4-FFF2-40B4-BE49-F238E27FC236}">
                <a16:creationId xmlns:a16="http://schemas.microsoft.com/office/drawing/2014/main" id="{C6CA6BB0-51F4-9B41-8C7E-07CB4E264F05}"/>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
        <p:nvSpPr>
          <p:cNvPr id="30" name="textruta 24">
            <a:extLst>
              <a:ext uri="{FF2B5EF4-FFF2-40B4-BE49-F238E27FC236}">
                <a16:creationId xmlns:a16="http://schemas.microsoft.com/office/drawing/2014/main" id="{2263BE6B-DBE8-2144-BFF4-7A82555B8482}"/>
              </a:ext>
            </a:extLst>
          </p:cNvPr>
          <p:cNvSpPr txBox="1"/>
          <p:nvPr userDrawn="1"/>
        </p:nvSpPr>
        <p:spPr>
          <a:xfrm>
            <a:off x="12395260" y="0"/>
            <a:ext cx="1681523" cy="1892826"/>
          </a:xfrm>
          <a:prstGeom prst="rect">
            <a:avLst/>
          </a:prstGeom>
          <a:solidFill>
            <a:schemeClr val="tx1"/>
          </a:solidFill>
          <a:effectLst/>
        </p:spPr>
        <p:txBody>
          <a:bodyPr wrap="square" rtlCol="0" anchor="ctr" anchorCtr="0">
            <a:spAutoFit/>
          </a:bodyPr>
          <a:lstStyle/>
          <a:p>
            <a:pPr algn="ctr"/>
            <a:r>
              <a:rPr lang="en-US" sz="900" baseline="0" noProof="0" dirty="0">
                <a:solidFill>
                  <a:schemeClr val="bg1">
                    <a:lumMod val="65000"/>
                    <a:lumOff val="35000"/>
                  </a:schemeClr>
                </a:solidFill>
                <a:latin typeface="+mn-lt"/>
                <a:cs typeface="Arial" panose="020B0604020202020204" pitchFamily="34" charset="0"/>
              </a:rPr>
              <a:t>To change from </a:t>
            </a:r>
            <a:r>
              <a:rPr lang="en-US" sz="900" b="1" baseline="0" noProof="0" dirty="0">
                <a:solidFill>
                  <a:schemeClr val="bg1">
                    <a:lumMod val="65000"/>
                    <a:lumOff val="35000"/>
                  </a:schemeClr>
                </a:solidFill>
                <a:latin typeface="+mn-lt"/>
                <a:cs typeface="Arial" panose="020B0604020202020204" pitchFamily="34" charset="0"/>
              </a:rPr>
              <a:t>headline</a:t>
            </a:r>
            <a:r>
              <a:rPr lang="en-US" sz="900" baseline="0" noProof="0" dirty="0">
                <a:solidFill>
                  <a:schemeClr val="bg1">
                    <a:lumMod val="65000"/>
                    <a:lumOff val="35000"/>
                  </a:schemeClr>
                </a:solidFill>
                <a:latin typeface="+mn-lt"/>
                <a:cs typeface="Arial" panose="020B0604020202020204" pitchFamily="34" charset="0"/>
              </a:rPr>
              <a:t> to </a:t>
            </a:r>
            <a:r>
              <a:rPr lang="en-US" sz="900" b="1" baseline="0" noProof="0" dirty="0">
                <a:solidFill>
                  <a:schemeClr val="bg1">
                    <a:lumMod val="65000"/>
                    <a:lumOff val="35000"/>
                  </a:schemeClr>
                </a:solidFill>
                <a:latin typeface="+mn-lt"/>
                <a:cs typeface="Arial" panose="020B0604020202020204" pitchFamily="34" charset="0"/>
              </a:rPr>
              <a:t>body text on the textbox by the icon </a:t>
            </a:r>
            <a:r>
              <a:rPr lang="en-US" sz="900" baseline="0" noProof="0" dirty="0">
                <a:solidFill>
                  <a:schemeClr val="bg1">
                    <a:lumMod val="65000"/>
                    <a:lumOff val="35000"/>
                  </a:schemeClr>
                </a:solidFill>
                <a:latin typeface="+mn-lt"/>
                <a:cs typeface="Arial" panose="020B0604020202020204" pitchFamily="34" charset="0"/>
              </a:rPr>
              <a:t>or to </a:t>
            </a:r>
            <a:r>
              <a:rPr lang="en-US" sz="900" b="1" baseline="0" noProof="0" dirty="0">
                <a:solidFill>
                  <a:schemeClr val="bg1">
                    <a:lumMod val="65000"/>
                    <a:lumOff val="35000"/>
                  </a:schemeClr>
                </a:solidFill>
                <a:latin typeface="+mn-lt"/>
                <a:cs typeface="Arial" panose="020B0604020202020204" pitchFamily="34" charset="0"/>
              </a:rPr>
              <a:t>use bullets</a:t>
            </a:r>
            <a:r>
              <a:rPr lang="en-US" sz="900" baseline="0" noProof="0" dirty="0">
                <a:solidFill>
                  <a:schemeClr val="bg1">
                    <a:lumMod val="65000"/>
                    <a:lumOff val="35000"/>
                  </a:schemeClr>
                </a:solidFill>
                <a:latin typeface="+mn-lt"/>
                <a:cs typeface="Arial" panose="020B0604020202020204" pitchFamily="34" charset="0"/>
              </a:rPr>
              <a:t>, press </a:t>
            </a:r>
            <a:r>
              <a:rPr lang="en-US" sz="900" b="1" baseline="0" noProof="0" dirty="0">
                <a:solidFill>
                  <a:schemeClr val="bg1">
                    <a:lumMod val="65000"/>
                    <a:lumOff val="35000"/>
                  </a:schemeClr>
                </a:solidFill>
                <a:latin typeface="+mn-lt"/>
                <a:cs typeface="Arial" panose="020B0604020202020204" pitchFamily="34" charset="0"/>
              </a:rPr>
              <a:t>enter/return </a:t>
            </a:r>
            <a:r>
              <a:rPr lang="en-US" sz="900" baseline="0" noProof="0" dirty="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dirty="0">
              <a:solidFill>
                <a:schemeClr val="bg1">
                  <a:lumMod val="65000"/>
                  <a:lumOff val="35000"/>
                </a:schemeClr>
              </a:solidFill>
              <a:latin typeface="+mn-lt"/>
              <a:cs typeface="Arial" panose="020B0604020202020204" pitchFamily="34" charset="0"/>
            </a:endParaRPr>
          </a:p>
          <a:p>
            <a:pPr algn="ctr"/>
            <a:endParaRPr lang="en-US" sz="900" baseline="0" noProof="0" dirty="0">
              <a:solidFill>
                <a:schemeClr val="bg1">
                  <a:lumMod val="65000"/>
                  <a:lumOff val="35000"/>
                </a:schemeClr>
              </a:solidFill>
              <a:latin typeface="+mn-lt"/>
              <a:cs typeface="Arial" panose="020B0604020202020204" pitchFamily="34" charset="0"/>
            </a:endParaRPr>
          </a:p>
          <a:p>
            <a:pPr algn="ctr"/>
            <a:endParaRPr lang="en-US" sz="900" baseline="0" noProof="0" dirty="0">
              <a:solidFill>
                <a:schemeClr val="bg1">
                  <a:lumMod val="65000"/>
                  <a:lumOff val="35000"/>
                </a:schemeClr>
              </a:solidFill>
              <a:latin typeface="+mn-lt"/>
              <a:cs typeface="Arial" panose="020B0604020202020204" pitchFamily="34" charset="0"/>
            </a:endParaRPr>
          </a:p>
          <a:p>
            <a:pPr algn="ctr"/>
            <a:endParaRPr lang="en-US" sz="900" baseline="0" noProof="0" dirty="0">
              <a:solidFill>
                <a:schemeClr val="bg1">
                  <a:lumMod val="65000"/>
                  <a:lumOff val="35000"/>
                </a:schemeClr>
              </a:solidFill>
              <a:latin typeface="+mn-lt"/>
              <a:cs typeface="Arial" panose="020B0604020202020204" pitchFamily="34" charset="0"/>
            </a:endParaRPr>
          </a:p>
          <a:p>
            <a:pPr algn="ctr"/>
            <a:endParaRPr lang="en-US" sz="900" baseline="0" noProof="0" dirty="0">
              <a:solidFill>
                <a:schemeClr val="bg1">
                  <a:lumMod val="65000"/>
                  <a:lumOff val="35000"/>
                </a:schemeClr>
              </a:solidFill>
              <a:latin typeface="+mn-lt"/>
              <a:cs typeface="Arial" panose="020B0604020202020204" pitchFamily="34" charset="0"/>
            </a:endParaRPr>
          </a:p>
          <a:p>
            <a:pPr algn="ctr"/>
            <a:endParaRPr lang="en-US" sz="900" baseline="0" noProof="0" dirty="0">
              <a:solidFill>
                <a:schemeClr val="bg1">
                  <a:lumMod val="65000"/>
                  <a:lumOff val="35000"/>
                </a:schemeClr>
              </a:solidFill>
              <a:latin typeface="+mn-lt"/>
              <a:cs typeface="Arial" panose="020B0604020202020204" pitchFamily="34" charset="0"/>
            </a:endParaRPr>
          </a:p>
          <a:p>
            <a:pPr algn="ctr"/>
            <a:endParaRPr lang="en-US" sz="900" baseline="0" noProof="0" dirty="0">
              <a:solidFill>
                <a:schemeClr val="bg1">
                  <a:lumMod val="65000"/>
                  <a:lumOff val="35000"/>
                </a:schemeClr>
              </a:solidFill>
              <a:latin typeface="+mn-lt"/>
              <a:cs typeface="Arial" panose="020B0604020202020204" pitchFamily="34" charset="0"/>
            </a:endParaRPr>
          </a:p>
        </p:txBody>
      </p:sp>
      <p:pic>
        <p:nvPicPr>
          <p:cNvPr id="31" name="Picture 9">
            <a:extLst>
              <a:ext uri="{FF2B5EF4-FFF2-40B4-BE49-F238E27FC236}">
                <a16:creationId xmlns:a16="http://schemas.microsoft.com/office/drawing/2014/main" id="{E88E9015-6542-9943-8475-918EA370530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1037299"/>
            <a:ext cx="1422121" cy="721417"/>
          </a:xfrm>
          <a:prstGeom prst="rect">
            <a:avLst/>
          </a:prstGeom>
          <a:ln w="9525">
            <a:solidFill>
              <a:schemeClr val="tx2"/>
            </a:solidFill>
          </a:ln>
        </p:spPr>
      </p:pic>
      <p:sp>
        <p:nvSpPr>
          <p:cNvPr id="32" name="Oval 4">
            <a:extLst>
              <a:ext uri="{FF2B5EF4-FFF2-40B4-BE49-F238E27FC236}">
                <a16:creationId xmlns:a16="http://schemas.microsoft.com/office/drawing/2014/main" id="{6DECF5C4-EAE9-7B4C-BC70-78C468298771}"/>
              </a:ext>
            </a:extLst>
          </p:cNvPr>
          <p:cNvSpPr/>
          <p:nvPr userDrawn="1"/>
        </p:nvSpPr>
        <p:spPr>
          <a:xfrm>
            <a:off x="13194299" y="1260596"/>
            <a:ext cx="282818" cy="28281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37" name="Connector: Elbow 131">
            <a:extLst>
              <a:ext uri="{FF2B5EF4-FFF2-40B4-BE49-F238E27FC236}">
                <a16:creationId xmlns:a16="http://schemas.microsoft.com/office/drawing/2014/main" id="{0094DDC0-BA55-964B-9FCC-B8B23309AB29}"/>
              </a:ext>
            </a:extLst>
          </p:cNvPr>
          <p:cNvCxnSpPr>
            <a:cxnSpLocks/>
            <a:endCxn id="32" idx="0"/>
          </p:cNvCxnSpPr>
          <p:nvPr userDrawn="1"/>
        </p:nvCxnSpPr>
        <p:spPr>
          <a:xfrm rot="5400000">
            <a:off x="13324711" y="988776"/>
            <a:ext cx="282818" cy="260823"/>
          </a:xfrm>
          <a:prstGeom prst="bentConnector3">
            <a:avLst>
              <a:gd name="adj1"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 Placeholder 4">
            <a:extLst>
              <a:ext uri="{FF2B5EF4-FFF2-40B4-BE49-F238E27FC236}">
                <a16:creationId xmlns:a16="http://schemas.microsoft.com/office/drawing/2014/main" id="{A58A8633-CD9B-2644-8816-C9A085ABBA57}"/>
              </a:ext>
            </a:extLst>
          </p:cNvPr>
          <p:cNvSpPr>
            <a:spLocks noGrp="1"/>
          </p:cNvSpPr>
          <p:nvPr>
            <p:ph type="body" sz="quarter" idx="34"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tx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769315285"/>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 Text Chart Image">
    <p:bg>
      <p:bgRef idx="1001">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A52AA6-685E-D741-94FC-09D0D87EA35C}"/>
              </a:ext>
            </a:extLst>
          </p:cNvPr>
          <p:cNvSpPr/>
          <p:nvPr userDrawn="1"/>
        </p:nvSpPr>
        <p:spPr>
          <a:xfrm>
            <a:off x="0" y="0"/>
            <a:ext cx="4057651"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4057651" y="0"/>
            <a:ext cx="8132760"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bg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bg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bg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bg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bg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grpSp>
      <p:sp>
        <p:nvSpPr>
          <p:cNvPr id="9" name="Chart Placeholder 8">
            <a:extLst>
              <a:ext uri="{FF2B5EF4-FFF2-40B4-BE49-F238E27FC236}">
                <a16:creationId xmlns:a16="http://schemas.microsoft.com/office/drawing/2014/main" id="{24D8D89D-9C5F-BF4B-912F-76A7A44AB335}"/>
              </a:ext>
            </a:extLst>
          </p:cNvPr>
          <p:cNvSpPr>
            <a:spLocks noGrp="1"/>
          </p:cNvSpPr>
          <p:nvPr>
            <p:ph type="chart" sz="quarter" idx="33" hasCustomPrompt="1"/>
          </p:nvPr>
        </p:nvSpPr>
        <p:spPr>
          <a:xfrm>
            <a:off x="5562626" y="1200392"/>
            <a:ext cx="4823891" cy="4424545"/>
          </a:xfrm>
        </p:spPr>
        <p:txBody>
          <a:bodyPr/>
          <a:lstStyle>
            <a:lvl1pPr marL="12700" indent="0" algn="ctr">
              <a:buNone/>
              <a:defRPr sz="1300">
                <a:solidFill>
                  <a:schemeClr val="bg2"/>
                </a:solidFill>
              </a:defRPr>
            </a:lvl1pPr>
          </a:lstStyle>
          <a:p>
            <a:r>
              <a:rPr lang="en-US" noProof="0"/>
              <a:t>Click to add chart</a:t>
            </a:r>
          </a:p>
        </p:txBody>
      </p:sp>
      <p:sp>
        <p:nvSpPr>
          <p:cNvPr id="25" name="Text Placeholder 18">
            <a:extLst>
              <a:ext uri="{FF2B5EF4-FFF2-40B4-BE49-F238E27FC236}">
                <a16:creationId xmlns:a16="http://schemas.microsoft.com/office/drawing/2014/main" id="{357E8C07-E7DB-4B47-A006-2F90A89E262C}"/>
              </a:ext>
            </a:extLst>
          </p:cNvPr>
          <p:cNvSpPr>
            <a:spLocks noGrp="1"/>
          </p:cNvSpPr>
          <p:nvPr>
            <p:ph type="body" sz="quarter" idx="14" hasCustomPrompt="1"/>
          </p:nvPr>
        </p:nvSpPr>
        <p:spPr>
          <a:xfrm>
            <a:off x="576000" y="731027"/>
            <a:ext cx="3161113" cy="1365942"/>
          </a:xfrm>
          <a:prstGeom prst="rect">
            <a:avLst/>
          </a:prstGeom>
        </p:spPr>
        <p:txBody>
          <a:bodyPr anchor="t">
            <a:noAutofit/>
          </a:bodyPr>
          <a:lstStyle>
            <a:lvl1pPr marL="0" indent="0">
              <a:lnSpc>
                <a:spcPct val="85000"/>
              </a:lnSpc>
              <a:spcBef>
                <a:spcPts val="0"/>
              </a:spcBef>
              <a:buNone/>
              <a:defRPr sz="3600" spc="40" baseline="0">
                <a:solidFill>
                  <a:schemeClr val="bg2"/>
                </a:solidFill>
                <a:latin typeface="+mj-lt"/>
              </a:defRPr>
            </a:lvl1pPr>
          </a:lstStyle>
          <a:p>
            <a:pPr lvl="0"/>
            <a:r>
              <a:rPr lang="en-US" noProof="0" dirty="0"/>
              <a:t>Click for a short headline of three lines</a:t>
            </a:r>
          </a:p>
        </p:txBody>
      </p:sp>
      <p:sp>
        <p:nvSpPr>
          <p:cNvPr id="18" name="Platshållare för text 11">
            <a:extLst>
              <a:ext uri="{FF2B5EF4-FFF2-40B4-BE49-F238E27FC236}">
                <a16:creationId xmlns:a16="http://schemas.microsoft.com/office/drawing/2014/main" id="{DBE4F817-848D-684D-8421-63796DD6A259}"/>
              </a:ext>
            </a:extLst>
          </p:cNvPr>
          <p:cNvSpPr>
            <a:spLocks noGrp="1"/>
          </p:cNvSpPr>
          <p:nvPr>
            <p:ph type="body" sz="quarter" idx="20" hasCustomPrompt="1"/>
          </p:nvPr>
        </p:nvSpPr>
        <p:spPr>
          <a:xfrm>
            <a:off x="576000" y="2527200"/>
            <a:ext cx="3161113" cy="360045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9" name="Platshållare för datum 3">
            <a:extLst>
              <a:ext uri="{FF2B5EF4-FFF2-40B4-BE49-F238E27FC236}">
                <a16:creationId xmlns:a16="http://schemas.microsoft.com/office/drawing/2014/main" id="{24DA0736-8844-004C-85CF-354AAE794A4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2"/>
                </a:solidFill>
              </a:defRPr>
            </a:lvl1pPr>
          </a:lstStyle>
          <a:p>
            <a:fld id="{0932CAFF-EAC0-4DBD-84AD-10DDA1AB6190}" type="datetime1">
              <a:rPr lang="en-US" smtClean="0"/>
              <a:t>11/1/2023</a:t>
            </a:fld>
            <a:endParaRPr lang="en-US"/>
          </a:p>
        </p:txBody>
      </p:sp>
      <p:sp>
        <p:nvSpPr>
          <p:cNvPr id="20" name="Platshållare för sidfot 4">
            <a:extLst>
              <a:ext uri="{FF2B5EF4-FFF2-40B4-BE49-F238E27FC236}">
                <a16:creationId xmlns:a16="http://schemas.microsoft.com/office/drawing/2014/main" id="{4769CEE5-AF3E-524B-8F09-C312FCBEAAB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en-US"/>
              <a:t>Go to header/footer to change text </a:t>
            </a:r>
          </a:p>
        </p:txBody>
      </p:sp>
      <p:sp>
        <p:nvSpPr>
          <p:cNvPr id="26" name="Platshållare för bildnummer 5">
            <a:extLst>
              <a:ext uri="{FF2B5EF4-FFF2-40B4-BE49-F238E27FC236}">
                <a16:creationId xmlns:a16="http://schemas.microsoft.com/office/drawing/2014/main" id="{B67366FE-B59B-EF4A-988D-55E8E992C22C}"/>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
        <p:nvSpPr>
          <p:cNvPr id="28" name="Text Placeholder 4">
            <a:extLst>
              <a:ext uri="{FF2B5EF4-FFF2-40B4-BE49-F238E27FC236}">
                <a16:creationId xmlns:a16="http://schemas.microsoft.com/office/drawing/2014/main" id="{0D80328E-BBEF-7140-A6A4-DD724D95A068}"/>
              </a:ext>
            </a:extLst>
          </p:cNvPr>
          <p:cNvSpPr>
            <a:spLocks noGrp="1"/>
          </p:cNvSpPr>
          <p:nvPr>
            <p:ph type="body" sz="quarter" idx="34"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tx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202226643"/>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 Text Chart Image Three Columns ">
    <p:bg>
      <p:bgPr>
        <a:solidFill>
          <a:schemeClr val="tx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D45A29B0-4F3D-6744-8612-D07AA5FC7EB7}"/>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bg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9" name="Chart Placeholder 8">
            <a:extLst>
              <a:ext uri="{FF2B5EF4-FFF2-40B4-BE49-F238E27FC236}">
                <a16:creationId xmlns:a16="http://schemas.microsoft.com/office/drawing/2014/main" id="{24D8D89D-9C5F-BF4B-912F-76A7A44AB335}"/>
              </a:ext>
            </a:extLst>
          </p:cNvPr>
          <p:cNvSpPr>
            <a:spLocks noGrp="1"/>
          </p:cNvSpPr>
          <p:nvPr>
            <p:ph type="chart" sz="quarter" idx="33" hasCustomPrompt="1"/>
          </p:nvPr>
        </p:nvSpPr>
        <p:spPr>
          <a:xfrm>
            <a:off x="576263" y="1744190"/>
            <a:ext cx="3481387" cy="2627962"/>
          </a:xfrm>
        </p:spPr>
        <p:txBody>
          <a:bodyPr/>
          <a:lstStyle>
            <a:lvl1pPr marL="12700" indent="0" algn="ctr">
              <a:buNone/>
              <a:defRPr sz="1300">
                <a:solidFill>
                  <a:schemeClr val="bg2"/>
                </a:solidFill>
              </a:defRPr>
            </a:lvl1pPr>
          </a:lstStyle>
          <a:p>
            <a:r>
              <a:rPr lang="en-US" noProof="0"/>
              <a:t>Click to add chart</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11039738" cy="421117"/>
          </a:xfrm>
          <a:prstGeom prst="rect">
            <a:avLst/>
          </a:prstGeom>
        </p:spPr>
        <p:txBody>
          <a:bodyPr anchor="t">
            <a:noAutofit/>
          </a:bodyPr>
          <a:lstStyle>
            <a:lvl1pPr marL="0" indent="0">
              <a:lnSpc>
                <a:spcPct val="85000"/>
              </a:lnSpc>
              <a:spcBef>
                <a:spcPts val="0"/>
              </a:spcBef>
              <a:buNone/>
              <a:defRPr sz="3600" spc="40" baseline="0">
                <a:solidFill>
                  <a:schemeClr val="tx1"/>
                </a:solidFill>
                <a:latin typeface="+mj-lt"/>
              </a:defRPr>
            </a:lvl1pPr>
          </a:lstStyle>
          <a:p>
            <a:pPr lvl="0"/>
            <a:r>
              <a:rPr lang="en-US" noProof="0" dirty="0"/>
              <a:t>Click for a short headline of one line</a:t>
            </a:r>
          </a:p>
        </p:txBody>
      </p:sp>
      <p:sp>
        <p:nvSpPr>
          <p:cNvPr id="28" name="Text Placeholder 7">
            <a:extLst>
              <a:ext uri="{FF2B5EF4-FFF2-40B4-BE49-F238E27FC236}">
                <a16:creationId xmlns:a16="http://schemas.microsoft.com/office/drawing/2014/main" id="{9AFC5A01-2CE1-3843-B90A-FAF0804C9EB4}"/>
              </a:ext>
            </a:extLst>
          </p:cNvPr>
          <p:cNvSpPr>
            <a:spLocks noGrp="1"/>
          </p:cNvSpPr>
          <p:nvPr>
            <p:ph type="body" sz="quarter" idx="32" hasCustomPrompt="1"/>
          </p:nvPr>
        </p:nvSpPr>
        <p:spPr>
          <a:xfrm>
            <a:off x="576000" y="4546800"/>
            <a:ext cx="3481650" cy="844550"/>
          </a:xfrm>
        </p:spPr>
        <p:txBody>
          <a:bodyPr/>
          <a:lstStyle>
            <a:lvl1pPr marL="0" indent="0" algn="ctr">
              <a:lnSpc>
                <a:spcPct val="100000"/>
              </a:lnSpc>
              <a:spcBef>
                <a:spcPts val="0"/>
              </a:spcBef>
              <a:spcAft>
                <a:spcPts val="800"/>
              </a:spcAft>
              <a:buNone/>
              <a:defRPr sz="1800" b="1" spc="40" baseline="0">
                <a:solidFill>
                  <a:schemeClr val="tx1"/>
                </a:solidFill>
              </a:defRPr>
            </a:lvl1pPr>
            <a:lvl2pPr marL="0" indent="0" algn="ctr">
              <a:lnSpc>
                <a:spcPct val="100000"/>
              </a:lnSpc>
              <a:spcBef>
                <a:spcPts val="0"/>
              </a:spcBef>
              <a:spcAft>
                <a:spcPts val="600"/>
              </a:spcAft>
              <a:buNone/>
              <a:defRPr sz="16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29" name="Chart Placeholder 8">
            <a:extLst>
              <a:ext uri="{FF2B5EF4-FFF2-40B4-BE49-F238E27FC236}">
                <a16:creationId xmlns:a16="http://schemas.microsoft.com/office/drawing/2014/main" id="{72F43D24-E411-A945-9505-57F5F3934E9B}"/>
              </a:ext>
            </a:extLst>
          </p:cNvPr>
          <p:cNvSpPr>
            <a:spLocks noGrp="1"/>
          </p:cNvSpPr>
          <p:nvPr>
            <p:ph type="chart" sz="quarter" idx="34" hasCustomPrompt="1"/>
          </p:nvPr>
        </p:nvSpPr>
        <p:spPr>
          <a:xfrm>
            <a:off x="4353132" y="1744190"/>
            <a:ext cx="3481387" cy="2627962"/>
          </a:xfrm>
        </p:spPr>
        <p:txBody>
          <a:bodyPr/>
          <a:lstStyle>
            <a:lvl1pPr marL="12700" indent="0" algn="ctr">
              <a:buNone/>
              <a:defRPr sz="1300">
                <a:solidFill>
                  <a:schemeClr val="bg2"/>
                </a:solidFill>
              </a:defRPr>
            </a:lvl1pPr>
          </a:lstStyle>
          <a:p>
            <a:r>
              <a:rPr lang="en-US" noProof="0"/>
              <a:t>Click to add chart</a:t>
            </a:r>
          </a:p>
        </p:txBody>
      </p:sp>
      <p:sp>
        <p:nvSpPr>
          <p:cNvPr id="30" name="Text Placeholder 7">
            <a:extLst>
              <a:ext uri="{FF2B5EF4-FFF2-40B4-BE49-F238E27FC236}">
                <a16:creationId xmlns:a16="http://schemas.microsoft.com/office/drawing/2014/main" id="{14E86413-0724-2540-BCE2-3995B7047F65}"/>
              </a:ext>
            </a:extLst>
          </p:cNvPr>
          <p:cNvSpPr>
            <a:spLocks noGrp="1"/>
          </p:cNvSpPr>
          <p:nvPr>
            <p:ph type="body" sz="quarter" idx="35" hasCustomPrompt="1"/>
          </p:nvPr>
        </p:nvSpPr>
        <p:spPr>
          <a:xfrm>
            <a:off x="4352869" y="4546800"/>
            <a:ext cx="3481650" cy="844550"/>
          </a:xfrm>
        </p:spPr>
        <p:txBody>
          <a:bodyPr/>
          <a:lstStyle>
            <a:lvl1pPr marL="0" indent="0" algn="ctr">
              <a:lnSpc>
                <a:spcPct val="100000"/>
              </a:lnSpc>
              <a:spcBef>
                <a:spcPts val="0"/>
              </a:spcBef>
              <a:spcAft>
                <a:spcPts val="800"/>
              </a:spcAft>
              <a:buNone/>
              <a:defRPr sz="1800" b="1" spc="40" baseline="0">
                <a:solidFill>
                  <a:schemeClr val="tx1"/>
                </a:solidFill>
              </a:defRPr>
            </a:lvl1pPr>
            <a:lvl2pPr marL="0" indent="0" algn="ctr">
              <a:lnSpc>
                <a:spcPct val="100000"/>
              </a:lnSpc>
              <a:spcBef>
                <a:spcPts val="0"/>
              </a:spcBef>
              <a:spcAft>
                <a:spcPts val="600"/>
              </a:spcAft>
              <a:buNone/>
              <a:defRPr sz="16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31" name="Chart Placeholder 8">
            <a:extLst>
              <a:ext uri="{FF2B5EF4-FFF2-40B4-BE49-F238E27FC236}">
                <a16:creationId xmlns:a16="http://schemas.microsoft.com/office/drawing/2014/main" id="{5CCBAE0B-F5C6-B440-9BC0-04285EBC38D9}"/>
              </a:ext>
            </a:extLst>
          </p:cNvPr>
          <p:cNvSpPr>
            <a:spLocks noGrp="1"/>
          </p:cNvSpPr>
          <p:nvPr>
            <p:ph type="chart" sz="quarter" idx="36" hasCustomPrompt="1"/>
          </p:nvPr>
        </p:nvSpPr>
        <p:spPr>
          <a:xfrm>
            <a:off x="8143254" y="1744190"/>
            <a:ext cx="3481387" cy="2627962"/>
          </a:xfrm>
        </p:spPr>
        <p:txBody>
          <a:bodyPr/>
          <a:lstStyle>
            <a:lvl1pPr marL="12700" indent="0" algn="ctr">
              <a:buNone/>
              <a:defRPr sz="1300">
                <a:solidFill>
                  <a:schemeClr val="bg2"/>
                </a:solidFill>
              </a:defRPr>
            </a:lvl1pPr>
          </a:lstStyle>
          <a:p>
            <a:r>
              <a:rPr lang="en-US" noProof="0"/>
              <a:t>Click to add chart</a:t>
            </a:r>
          </a:p>
        </p:txBody>
      </p:sp>
      <p:sp>
        <p:nvSpPr>
          <p:cNvPr id="32" name="Text Placeholder 7">
            <a:extLst>
              <a:ext uri="{FF2B5EF4-FFF2-40B4-BE49-F238E27FC236}">
                <a16:creationId xmlns:a16="http://schemas.microsoft.com/office/drawing/2014/main" id="{A435FA06-C1B7-554E-B0E3-F6B929DF3951}"/>
              </a:ext>
            </a:extLst>
          </p:cNvPr>
          <p:cNvSpPr>
            <a:spLocks noGrp="1"/>
          </p:cNvSpPr>
          <p:nvPr>
            <p:ph type="body" sz="quarter" idx="37" hasCustomPrompt="1"/>
          </p:nvPr>
        </p:nvSpPr>
        <p:spPr>
          <a:xfrm>
            <a:off x="8142991" y="4546800"/>
            <a:ext cx="3481650" cy="844550"/>
          </a:xfrm>
        </p:spPr>
        <p:txBody>
          <a:bodyPr/>
          <a:lstStyle>
            <a:lvl1pPr marL="0" indent="0" algn="ctr">
              <a:lnSpc>
                <a:spcPct val="100000"/>
              </a:lnSpc>
              <a:spcBef>
                <a:spcPts val="0"/>
              </a:spcBef>
              <a:spcAft>
                <a:spcPts val="800"/>
              </a:spcAft>
              <a:buNone/>
              <a:defRPr sz="1800" b="1" spc="40" baseline="0">
                <a:solidFill>
                  <a:schemeClr val="tx1"/>
                </a:solidFill>
              </a:defRPr>
            </a:lvl1pPr>
            <a:lvl2pPr marL="0" indent="0" algn="ctr">
              <a:lnSpc>
                <a:spcPct val="100000"/>
              </a:lnSpc>
              <a:spcBef>
                <a:spcPts val="0"/>
              </a:spcBef>
              <a:spcAft>
                <a:spcPts val="600"/>
              </a:spcAft>
              <a:buNone/>
              <a:defRPr sz="16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3" name="textruta 12">
            <a:extLst>
              <a:ext uri="{FF2B5EF4-FFF2-40B4-BE49-F238E27FC236}">
                <a16:creationId xmlns:a16="http://schemas.microsoft.com/office/drawing/2014/main" id="{63744D4E-7A14-FF4F-97C0-C9226745D29A}"/>
              </a:ext>
            </a:extLst>
          </p:cNvPr>
          <p:cNvSpPr txBox="1"/>
          <p:nvPr userDrawn="1"/>
        </p:nvSpPr>
        <p:spPr>
          <a:xfrm>
            <a:off x="12395260" y="4546800"/>
            <a:ext cx="1681523" cy="1754326"/>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mn-lt"/>
                <a:cs typeface="Arial" panose="020B0604020202020204" pitchFamily="34" charset="0"/>
              </a:rPr>
              <a:t>To change from </a:t>
            </a:r>
            <a:r>
              <a:rPr lang="en-US" sz="900" b="1" baseline="0" noProof="0">
                <a:solidFill>
                  <a:schemeClr val="bg1">
                    <a:lumMod val="65000"/>
                    <a:lumOff val="35000"/>
                  </a:schemeClr>
                </a:solidFill>
                <a:latin typeface="+mn-lt"/>
                <a:cs typeface="Arial" panose="020B0604020202020204" pitchFamily="34" charset="0"/>
              </a:rPr>
              <a:t>headline</a:t>
            </a:r>
            <a:r>
              <a:rPr lang="en-US" sz="900" baseline="0" noProof="0">
                <a:solidFill>
                  <a:schemeClr val="bg1">
                    <a:lumMod val="65000"/>
                    <a:lumOff val="35000"/>
                  </a:schemeClr>
                </a:solidFill>
                <a:latin typeface="+mn-lt"/>
                <a:cs typeface="Arial" panose="020B0604020202020204" pitchFamily="34" charset="0"/>
              </a:rPr>
              <a:t> to </a:t>
            </a:r>
            <a:r>
              <a:rPr lang="en-US" sz="900" b="1" baseline="0" noProof="0">
                <a:solidFill>
                  <a:schemeClr val="bg1">
                    <a:lumMod val="65000"/>
                    <a:lumOff val="35000"/>
                  </a:schemeClr>
                </a:solidFill>
                <a:latin typeface="+mn-lt"/>
                <a:cs typeface="Arial" panose="020B0604020202020204" pitchFamily="34" charset="0"/>
              </a:rPr>
              <a:t>body text </a:t>
            </a:r>
            <a:r>
              <a:rPr lang="en-US" sz="900" baseline="0" noProof="0">
                <a:solidFill>
                  <a:schemeClr val="bg1">
                    <a:lumMod val="65000"/>
                    <a:lumOff val="35000"/>
                  </a:schemeClr>
                </a:solidFill>
                <a:latin typeface="+mn-lt"/>
                <a:cs typeface="Arial" panose="020B0604020202020204" pitchFamily="34" charset="0"/>
              </a:rPr>
              <a:t>or to </a:t>
            </a:r>
            <a:r>
              <a:rPr lang="en-US" sz="900" b="1" baseline="0" noProof="0">
                <a:solidFill>
                  <a:schemeClr val="bg1">
                    <a:lumMod val="65000"/>
                    <a:lumOff val="35000"/>
                  </a:schemeClr>
                </a:solidFill>
                <a:latin typeface="+mn-lt"/>
                <a:cs typeface="Arial" panose="020B0604020202020204" pitchFamily="34" charset="0"/>
              </a:rPr>
              <a:t>use bullets</a:t>
            </a:r>
            <a:r>
              <a:rPr lang="en-US" sz="900" baseline="0" noProof="0">
                <a:solidFill>
                  <a:schemeClr val="bg1">
                    <a:lumMod val="65000"/>
                    <a:lumOff val="35000"/>
                  </a:schemeClr>
                </a:solidFill>
                <a:latin typeface="+mn-lt"/>
                <a:cs typeface="Arial" panose="020B0604020202020204" pitchFamily="34" charset="0"/>
              </a:rPr>
              <a:t>, press </a:t>
            </a:r>
            <a:r>
              <a:rPr lang="en-US" sz="900" b="1" baseline="0" noProof="0">
                <a:solidFill>
                  <a:schemeClr val="bg1">
                    <a:lumMod val="65000"/>
                    <a:lumOff val="35000"/>
                  </a:schemeClr>
                </a:solidFill>
                <a:latin typeface="+mn-lt"/>
                <a:cs typeface="Arial" panose="020B0604020202020204" pitchFamily="34" charset="0"/>
              </a:rPr>
              <a:t>enter/return </a:t>
            </a:r>
            <a:r>
              <a:rPr lang="en-US" sz="900" baseline="0" noProof="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p:txBody>
      </p:sp>
      <p:pic>
        <p:nvPicPr>
          <p:cNvPr id="14" name="Picture 9">
            <a:extLst>
              <a:ext uri="{FF2B5EF4-FFF2-40B4-BE49-F238E27FC236}">
                <a16:creationId xmlns:a16="http://schemas.microsoft.com/office/drawing/2014/main" id="{3F3058FB-111D-F94F-98E7-6D40438483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451009"/>
            <a:ext cx="1422121" cy="721417"/>
          </a:xfrm>
          <a:prstGeom prst="rect">
            <a:avLst/>
          </a:prstGeom>
          <a:ln w="9525">
            <a:solidFill>
              <a:schemeClr val="tx2"/>
            </a:solidFill>
          </a:ln>
        </p:spPr>
      </p:pic>
      <p:sp>
        <p:nvSpPr>
          <p:cNvPr id="15" name="Oval 4">
            <a:extLst>
              <a:ext uri="{FF2B5EF4-FFF2-40B4-BE49-F238E27FC236}">
                <a16:creationId xmlns:a16="http://schemas.microsoft.com/office/drawing/2014/main" id="{1FC2FDB8-C7B2-5948-88E5-7395C14F114A}"/>
              </a:ext>
            </a:extLst>
          </p:cNvPr>
          <p:cNvSpPr/>
          <p:nvPr userDrawn="1"/>
        </p:nvSpPr>
        <p:spPr>
          <a:xfrm>
            <a:off x="13194299" y="56743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4D094D2D-E3E2-8541-9B95-68913F6FD08E}"/>
              </a:ext>
            </a:extLst>
          </p:cNvPr>
          <p:cNvCxnSpPr>
            <a:cxnSpLocks/>
            <a:endCxn id="15" idx="0"/>
          </p:cNvCxnSpPr>
          <p:nvPr userDrawn="1"/>
        </p:nvCxnSpPr>
        <p:spPr>
          <a:xfrm rot="5400000">
            <a:off x="13324711" y="54024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ruta 5">
            <a:extLst>
              <a:ext uri="{FF2B5EF4-FFF2-40B4-BE49-F238E27FC236}">
                <a16:creationId xmlns:a16="http://schemas.microsoft.com/office/drawing/2014/main" id="{41A9DA98-B5D5-0648-9A5D-6CF702CA3812}"/>
              </a:ext>
            </a:extLst>
          </p:cNvPr>
          <p:cNvSpPr txBox="1"/>
          <p:nvPr userDrawn="1"/>
        </p:nvSpPr>
        <p:spPr>
          <a:xfrm>
            <a:off x="12395260" y="1453483"/>
            <a:ext cx="1681523" cy="646331"/>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bg1">
                    <a:lumMod val="65000"/>
                    <a:lumOff val="35000"/>
                  </a:schemeClr>
                </a:solidFill>
                <a:latin typeface="Arial" panose="020B0604020202020204" pitchFamily="34" charset="0"/>
                <a:cs typeface="Arial" panose="020B0604020202020204" pitchFamily="34" charset="0"/>
              </a:rPr>
              <a:t>and use – </a:t>
            </a:r>
            <a:r>
              <a:rPr lang="en-US" sz="900" b="1" noProof="0">
                <a:solidFill>
                  <a:schemeClr val="bg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end to back</a:t>
            </a:r>
          </a:p>
        </p:txBody>
      </p:sp>
      <p:sp>
        <p:nvSpPr>
          <p:cNvPr id="20" name="textruta 19">
            <a:extLst>
              <a:ext uri="{FF2B5EF4-FFF2-40B4-BE49-F238E27FC236}">
                <a16:creationId xmlns:a16="http://schemas.microsoft.com/office/drawing/2014/main" id="{52CE317C-77EC-F049-9E9A-98EBFC8D922D}"/>
              </a:ext>
            </a:extLst>
          </p:cNvPr>
          <p:cNvSpPr txBox="1"/>
          <p:nvPr userDrawn="1"/>
        </p:nvSpPr>
        <p:spPr>
          <a:xfrm>
            <a:off x="12395260" y="-12189"/>
            <a:ext cx="1681523" cy="1338828"/>
          </a:xfrm>
          <a:prstGeom prst="rect">
            <a:avLst/>
          </a:prstGeom>
          <a:solidFill>
            <a:schemeClr val="tx1"/>
          </a:solidFill>
          <a:effectLst/>
        </p:spPr>
        <p:txBody>
          <a:bodyPr wrap="square" rtlCol="0" anchor="ctr" anchorCtr="0">
            <a:spAutoFit/>
          </a:bodyPr>
          <a:lstStyle/>
          <a:p>
            <a:pPr algn="ct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Format Background </a:t>
            </a: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Solid fill</a:t>
            </a: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 –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dirty="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bg1">
                  <a:lumMod val="65000"/>
                  <a:lumOff val="35000"/>
                </a:schemeClr>
              </a:solidFill>
              <a:latin typeface="Arial" panose="020B0604020202020204" pitchFamily="34" charset="0"/>
              <a:cs typeface="Arial" panose="020B0604020202020204" pitchFamily="34" charset="0"/>
            </a:endParaRPr>
          </a:p>
        </p:txBody>
      </p:sp>
      <p:sp>
        <p:nvSpPr>
          <p:cNvPr id="21" name="Rektangel 20">
            <a:extLst>
              <a:ext uri="{FF2B5EF4-FFF2-40B4-BE49-F238E27FC236}">
                <a16:creationId xmlns:a16="http://schemas.microsoft.com/office/drawing/2014/main" id="{38DDAB0F-E6C9-D640-856D-C484C7777781}"/>
              </a:ext>
            </a:extLst>
          </p:cNvPr>
          <p:cNvSpPr/>
          <p:nvPr userDrawn="1"/>
        </p:nvSpPr>
        <p:spPr>
          <a:xfrm>
            <a:off x="13255337" y="926211"/>
            <a:ext cx="341194" cy="305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ktangel 21">
            <a:extLst>
              <a:ext uri="{FF2B5EF4-FFF2-40B4-BE49-F238E27FC236}">
                <a16:creationId xmlns:a16="http://schemas.microsoft.com/office/drawing/2014/main" id="{485A4234-7053-054A-A6BF-061561FBBB87}"/>
              </a:ext>
            </a:extLst>
          </p:cNvPr>
          <p:cNvSpPr/>
          <p:nvPr userDrawn="1"/>
        </p:nvSpPr>
        <p:spPr>
          <a:xfrm>
            <a:off x="12833410" y="926211"/>
            <a:ext cx="341194" cy="305904"/>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3" name="Platshållare för datum 3">
            <a:extLst>
              <a:ext uri="{FF2B5EF4-FFF2-40B4-BE49-F238E27FC236}">
                <a16:creationId xmlns:a16="http://schemas.microsoft.com/office/drawing/2014/main" id="{AF83C049-500D-814C-8644-19FD6F50A73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B9DD4BA3-B9C0-412F-A302-22C5EE875D2E}" type="datetime1">
              <a:rPr lang="en-US" noProof="0" smtClean="0"/>
              <a:t>11/1/2023</a:t>
            </a:fld>
            <a:endParaRPr lang="en-US" noProof="0"/>
          </a:p>
        </p:txBody>
      </p:sp>
      <p:sp>
        <p:nvSpPr>
          <p:cNvPr id="24" name="Platshållare för sidfot 4">
            <a:extLst>
              <a:ext uri="{FF2B5EF4-FFF2-40B4-BE49-F238E27FC236}">
                <a16:creationId xmlns:a16="http://schemas.microsoft.com/office/drawing/2014/main" id="{666E57CC-AB24-3E4D-8A37-80E672D3ACE9}"/>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5" name="Platshållare för bildnummer 5">
            <a:extLst>
              <a:ext uri="{FF2B5EF4-FFF2-40B4-BE49-F238E27FC236}">
                <a16:creationId xmlns:a16="http://schemas.microsoft.com/office/drawing/2014/main" id="{3494CCD3-1EDC-7444-A47F-9ABE059A0A5D}"/>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909762721"/>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 Text Image Chart Grey">
    <p:bg>
      <p:bgPr>
        <a:solidFill>
          <a:schemeClr val="tx2"/>
        </a:solidFill>
        <a:effectLst/>
      </p:bgPr>
    </p:bg>
    <p:spTree>
      <p:nvGrpSpPr>
        <p:cNvPr id="1" name=""/>
        <p:cNvGrpSpPr/>
        <p:nvPr/>
      </p:nvGrpSpPr>
      <p:grpSpPr>
        <a:xfrm>
          <a:off x="0" y="0"/>
          <a:ext cx="0" cy="0"/>
          <a:chOff x="0" y="0"/>
          <a:chExt cx="0" cy="0"/>
        </a:xfrm>
      </p:grpSpPr>
      <p:sp>
        <p:nvSpPr>
          <p:cNvPr id="11" name="Rektangel 33">
            <a:extLst>
              <a:ext uri="{FF2B5EF4-FFF2-40B4-BE49-F238E27FC236}">
                <a16:creationId xmlns:a16="http://schemas.microsoft.com/office/drawing/2014/main" id="{2F19A064-1249-6F46-8F80-C6115CCF13F7}"/>
              </a:ext>
            </a:extLst>
          </p:cNvPr>
          <p:cNvSpPr/>
          <p:nvPr userDrawn="1"/>
        </p:nvSpPr>
        <p:spPr>
          <a:xfrm>
            <a:off x="7829550" y="0"/>
            <a:ext cx="436245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Picture Placeholder 14">
            <a:extLst>
              <a:ext uri="{FF2B5EF4-FFF2-40B4-BE49-F238E27FC236}">
                <a16:creationId xmlns:a16="http://schemas.microsoft.com/office/drawing/2014/main" id="{27EFD137-4B99-8842-A5F6-821FCB02CC2F}"/>
              </a:ext>
            </a:extLst>
          </p:cNvPr>
          <p:cNvSpPr>
            <a:spLocks noGrp="1"/>
          </p:cNvSpPr>
          <p:nvPr>
            <p:ph type="pic" sz="quarter" idx="13" hasCustomPrompt="1"/>
          </p:nvPr>
        </p:nvSpPr>
        <p:spPr>
          <a:xfrm>
            <a:off x="5" y="5"/>
            <a:ext cx="7838843" cy="6857997"/>
          </a:xfrm>
          <a:custGeom>
            <a:avLst/>
            <a:gdLst>
              <a:gd name="connsiteX0" fmla="*/ 1146049 w 7838843"/>
              <a:gd name="connsiteY0" fmla="*/ 6470534 h 6857997"/>
              <a:gd name="connsiteX1" fmla="*/ 1157832 w 7838843"/>
              <a:gd name="connsiteY1" fmla="*/ 6505507 h 6857997"/>
              <a:gd name="connsiteX2" fmla="*/ 1134642 w 7838843"/>
              <a:gd name="connsiteY2" fmla="*/ 6505507 h 6857997"/>
              <a:gd name="connsiteX3" fmla="*/ 788170 w 7838843"/>
              <a:gd name="connsiteY3" fmla="*/ 6470534 h 6857997"/>
              <a:gd name="connsiteX4" fmla="*/ 799953 w 7838843"/>
              <a:gd name="connsiteY4" fmla="*/ 6505507 h 6857997"/>
              <a:gd name="connsiteX5" fmla="*/ 776763 w 7838843"/>
              <a:gd name="connsiteY5" fmla="*/ 6505507 h 6857997"/>
              <a:gd name="connsiteX6" fmla="*/ 1132323 w 7838843"/>
              <a:gd name="connsiteY6" fmla="*/ 6451543 h 6857997"/>
              <a:gd name="connsiteX7" fmla="*/ 1100860 w 7838843"/>
              <a:gd name="connsiteY7" fmla="*/ 6542674 h 6857997"/>
              <a:gd name="connsiteX8" fmla="*/ 1123110 w 7838843"/>
              <a:gd name="connsiteY8" fmla="*/ 6542674 h 6857997"/>
              <a:gd name="connsiteX9" fmla="*/ 1128876 w 7838843"/>
              <a:gd name="connsiteY9" fmla="*/ 6524060 h 6857997"/>
              <a:gd name="connsiteX10" fmla="*/ 1163786 w 7838843"/>
              <a:gd name="connsiteY10" fmla="*/ 6524060 h 6857997"/>
              <a:gd name="connsiteX11" fmla="*/ 1169741 w 7838843"/>
              <a:gd name="connsiteY11" fmla="*/ 6542674 h 6857997"/>
              <a:gd name="connsiteX12" fmla="*/ 1191615 w 7838843"/>
              <a:gd name="connsiteY12" fmla="*/ 6542674 h 6857997"/>
              <a:gd name="connsiteX13" fmla="*/ 1159148 w 7838843"/>
              <a:gd name="connsiteY13" fmla="*/ 6451543 h 6857997"/>
              <a:gd name="connsiteX14" fmla="*/ 961907 w 7838843"/>
              <a:gd name="connsiteY14" fmla="*/ 6451543 h 6857997"/>
              <a:gd name="connsiteX15" fmla="*/ 933640 w 7838843"/>
              <a:gd name="connsiteY15" fmla="*/ 6479246 h 6857997"/>
              <a:gd name="connsiteX16" fmla="*/ 961907 w 7838843"/>
              <a:gd name="connsiteY16" fmla="*/ 6505821 h 6857997"/>
              <a:gd name="connsiteX17" fmla="*/ 983468 w 7838843"/>
              <a:gd name="connsiteY17" fmla="*/ 6505821 h 6857997"/>
              <a:gd name="connsiteX18" fmla="*/ 991678 w 7838843"/>
              <a:gd name="connsiteY18" fmla="*/ 6514282 h 6857997"/>
              <a:gd name="connsiteX19" fmla="*/ 983468 w 7838843"/>
              <a:gd name="connsiteY19" fmla="*/ 6522743 h 6857997"/>
              <a:gd name="connsiteX20" fmla="*/ 937338 w 7838843"/>
              <a:gd name="connsiteY20" fmla="*/ 6522743 h 6857997"/>
              <a:gd name="connsiteX21" fmla="*/ 937338 w 7838843"/>
              <a:gd name="connsiteY21" fmla="*/ 6542674 h 6857997"/>
              <a:gd name="connsiteX22" fmla="*/ 982716 w 7838843"/>
              <a:gd name="connsiteY22" fmla="*/ 6542674 h 6857997"/>
              <a:gd name="connsiteX23" fmla="*/ 1011358 w 7838843"/>
              <a:gd name="connsiteY23" fmla="*/ 6514282 h 6857997"/>
              <a:gd name="connsiteX24" fmla="*/ 986727 w 7838843"/>
              <a:gd name="connsiteY24" fmla="*/ 6487707 h 6857997"/>
              <a:gd name="connsiteX25" fmla="*/ 961907 w 7838843"/>
              <a:gd name="connsiteY25" fmla="*/ 6487707 h 6857997"/>
              <a:gd name="connsiteX26" fmla="*/ 953321 w 7838843"/>
              <a:gd name="connsiteY26" fmla="*/ 6479246 h 6857997"/>
              <a:gd name="connsiteX27" fmla="*/ 961907 w 7838843"/>
              <a:gd name="connsiteY27" fmla="*/ 6470785 h 6857997"/>
              <a:gd name="connsiteX28" fmla="*/ 1004965 w 7838843"/>
              <a:gd name="connsiteY28" fmla="*/ 6470785 h 6857997"/>
              <a:gd name="connsiteX29" fmla="*/ 1004965 w 7838843"/>
              <a:gd name="connsiteY29" fmla="*/ 6451543 h 6857997"/>
              <a:gd name="connsiteX30" fmla="*/ 841570 w 7838843"/>
              <a:gd name="connsiteY30" fmla="*/ 6451543 h 6857997"/>
              <a:gd name="connsiteX31" fmla="*/ 841570 w 7838843"/>
              <a:gd name="connsiteY31" fmla="*/ 6542674 h 6857997"/>
              <a:gd name="connsiteX32" fmla="*/ 862692 w 7838843"/>
              <a:gd name="connsiteY32" fmla="*/ 6542674 h 6857997"/>
              <a:gd name="connsiteX33" fmla="*/ 862692 w 7838843"/>
              <a:gd name="connsiteY33" fmla="*/ 6486454 h 6857997"/>
              <a:gd name="connsiteX34" fmla="*/ 898981 w 7838843"/>
              <a:gd name="connsiteY34" fmla="*/ 6542486 h 6857997"/>
              <a:gd name="connsiteX35" fmla="*/ 898981 w 7838843"/>
              <a:gd name="connsiteY35" fmla="*/ 6542674 h 6857997"/>
              <a:gd name="connsiteX36" fmla="*/ 920855 w 7838843"/>
              <a:gd name="connsiteY36" fmla="*/ 6542674 h 6857997"/>
              <a:gd name="connsiteX37" fmla="*/ 920793 w 7838843"/>
              <a:gd name="connsiteY37" fmla="*/ 6522994 h 6857997"/>
              <a:gd name="connsiteX38" fmla="*/ 920667 w 7838843"/>
              <a:gd name="connsiteY38" fmla="*/ 6451543 h 6857997"/>
              <a:gd name="connsiteX39" fmla="*/ 899671 w 7838843"/>
              <a:gd name="connsiteY39" fmla="*/ 6451543 h 6857997"/>
              <a:gd name="connsiteX40" fmla="*/ 899671 w 7838843"/>
              <a:gd name="connsiteY40" fmla="*/ 6508829 h 6857997"/>
              <a:gd name="connsiteX41" fmla="*/ 863068 w 7838843"/>
              <a:gd name="connsiteY41" fmla="*/ 6451543 h 6857997"/>
              <a:gd name="connsiteX42" fmla="*/ 774444 w 7838843"/>
              <a:gd name="connsiteY42" fmla="*/ 6451543 h 6857997"/>
              <a:gd name="connsiteX43" fmla="*/ 742918 w 7838843"/>
              <a:gd name="connsiteY43" fmla="*/ 6542674 h 6857997"/>
              <a:gd name="connsiteX44" fmla="*/ 765168 w 7838843"/>
              <a:gd name="connsiteY44" fmla="*/ 6542674 h 6857997"/>
              <a:gd name="connsiteX45" fmla="*/ 770934 w 7838843"/>
              <a:gd name="connsiteY45" fmla="*/ 6524060 h 6857997"/>
              <a:gd name="connsiteX46" fmla="*/ 805845 w 7838843"/>
              <a:gd name="connsiteY46" fmla="*/ 6524060 h 6857997"/>
              <a:gd name="connsiteX47" fmla="*/ 811799 w 7838843"/>
              <a:gd name="connsiteY47" fmla="*/ 6542674 h 6857997"/>
              <a:gd name="connsiteX48" fmla="*/ 833735 w 7838843"/>
              <a:gd name="connsiteY48" fmla="*/ 6542674 h 6857997"/>
              <a:gd name="connsiteX49" fmla="*/ 801269 w 7838843"/>
              <a:gd name="connsiteY49" fmla="*/ 6451543 h 6857997"/>
              <a:gd name="connsiteX50" fmla="*/ 604404 w 7838843"/>
              <a:gd name="connsiteY50" fmla="*/ 6451543 h 6857997"/>
              <a:gd name="connsiteX51" fmla="*/ 576137 w 7838843"/>
              <a:gd name="connsiteY51" fmla="*/ 6479246 h 6857997"/>
              <a:gd name="connsiteX52" fmla="*/ 604404 w 7838843"/>
              <a:gd name="connsiteY52" fmla="*/ 6505821 h 6857997"/>
              <a:gd name="connsiteX53" fmla="*/ 625964 w 7838843"/>
              <a:gd name="connsiteY53" fmla="*/ 6505821 h 6857997"/>
              <a:gd name="connsiteX54" fmla="*/ 634174 w 7838843"/>
              <a:gd name="connsiteY54" fmla="*/ 6514282 h 6857997"/>
              <a:gd name="connsiteX55" fmla="*/ 625964 w 7838843"/>
              <a:gd name="connsiteY55" fmla="*/ 6522743 h 6857997"/>
              <a:gd name="connsiteX56" fmla="*/ 579772 w 7838843"/>
              <a:gd name="connsiteY56" fmla="*/ 6522743 h 6857997"/>
              <a:gd name="connsiteX57" fmla="*/ 579772 w 7838843"/>
              <a:gd name="connsiteY57" fmla="*/ 6542674 h 6857997"/>
              <a:gd name="connsiteX58" fmla="*/ 625149 w 7838843"/>
              <a:gd name="connsiteY58" fmla="*/ 6542674 h 6857997"/>
              <a:gd name="connsiteX59" fmla="*/ 653792 w 7838843"/>
              <a:gd name="connsiteY59" fmla="*/ 6514282 h 6857997"/>
              <a:gd name="connsiteX60" fmla="*/ 629223 w 7838843"/>
              <a:gd name="connsiteY60" fmla="*/ 6487707 h 6857997"/>
              <a:gd name="connsiteX61" fmla="*/ 604404 w 7838843"/>
              <a:gd name="connsiteY61" fmla="*/ 6487707 h 6857997"/>
              <a:gd name="connsiteX62" fmla="*/ 595817 w 7838843"/>
              <a:gd name="connsiteY62" fmla="*/ 6479246 h 6857997"/>
              <a:gd name="connsiteX63" fmla="*/ 604404 w 7838843"/>
              <a:gd name="connsiteY63" fmla="*/ 6470785 h 6857997"/>
              <a:gd name="connsiteX64" fmla="*/ 647462 w 7838843"/>
              <a:gd name="connsiteY64" fmla="*/ 6470785 h 6857997"/>
              <a:gd name="connsiteX65" fmla="*/ 647462 w 7838843"/>
              <a:gd name="connsiteY65" fmla="*/ 6451543 h 6857997"/>
              <a:gd name="connsiteX66" fmla="*/ 1023956 w 7838843"/>
              <a:gd name="connsiteY66" fmla="*/ 6451480 h 6857997"/>
              <a:gd name="connsiteX67" fmla="*/ 1023956 w 7838843"/>
              <a:gd name="connsiteY67" fmla="*/ 6542674 h 6857997"/>
              <a:gd name="connsiteX68" fmla="*/ 1045016 w 7838843"/>
              <a:gd name="connsiteY68" fmla="*/ 6542674 h 6857997"/>
              <a:gd name="connsiteX69" fmla="*/ 1045016 w 7838843"/>
              <a:gd name="connsiteY69" fmla="*/ 6504191 h 6857997"/>
              <a:gd name="connsiteX70" fmla="*/ 1074975 w 7838843"/>
              <a:gd name="connsiteY70" fmla="*/ 6542674 h 6857997"/>
              <a:gd name="connsiteX71" fmla="*/ 1099481 w 7838843"/>
              <a:gd name="connsiteY71" fmla="*/ 6542674 h 6857997"/>
              <a:gd name="connsiteX72" fmla="*/ 1065009 w 7838843"/>
              <a:gd name="connsiteY72" fmla="*/ 6497109 h 6857997"/>
              <a:gd name="connsiteX73" fmla="*/ 1099481 w 7838843"/>
              <a:gd name="connsiteY73" fmla="*/ 6451480 h 6857997"/>
              <a:gd name="connsiteX74" fmla="*/ 1074975 w 7838843"/>
              <a:gd name="connsiteY74" fmla="*/ 6451480 h 6857997"/>
              <a:gd name="connsiteX75" fmla="*/ 1045016 w 7838843"/>
              <a:gd name="connsiteY75" fmla="*/ 6489963 h 6857997"/>
              <a:gd name="connsiteX76" fmla="*/ 1045016 w 7838843"/>
              <a:gd name="connsiteY76" fmla="*/ 6451480 h 6857997"/>
              <a:gd name="connsiteX77" fmla="*/ 666077 w 7838843"/>
              <a:gd name="connsiteY77" fmla="*/ 6451480 h 6857997"/>
              <a:gd name="connsiteX78" fmla="*/ 666077 w 7838843"/>
              <a:gd name="connsiteY78" fmla="*/ 6542674 h 6857997"/>
              <a:gd name="connsiteX79" fmla="*/ 687073 w 7838843"/>
              <a:gd name="connsiteY79" fmla="*/ 6542674 h 6857997"/>
              <a:gd name="connsiteX80" fmla="*/ 687073 w 7838843"/>
              <a:gd name="connsiteY80" fmla="*/ 6504191 h 6857997"/>
              <a:gd name="connsiteX81" fmla="*/ 717033 w 7838843"/>
              <a:gd name="connsiteY81" fmla="*/ 6542674 h 6857997"/>
              <a:gd name="connsiteX82" fmla="*/ 741602 w 7838843"/>
              <a:gd name="connsiteY82" fmla="*/ 6542674 h 6857997"/>
              <a:gd name="connsiteX83" fmla="*/ 707067 w 7838843"/>
              <a:gd name="connsiteY83" fmla="*/ 6497109 h 6857997"/>
              <a:gd name="connsiteX84" fmla="*/ 741602 w 7838843"/>
              <a:gd name="connsiteY84" fmla="*/ 6451480 h 6857997"/>
              <a:gd name="connsiteX85" fmla="*/ 717033 w 7838843"/>
              <a:gd name="connsiteY85" fmla="*/ 6451480 h 6857997"/>
              <a:gd name="connsiteX86" fmla="*/ 687073 w 7838843"/>
              <a:gd name="connsiteY86" fmla="*/ 6489963 h 6857997"/>
              <a:gd name="connsiteX87" fmla="*/ 687073 w 7838843"/>
              <a:gd name="connsiteY87" fmla="*/ 6451480 h 6857997"/>
              <a:gd name="connsiteX88" fmla="*/ 0 w 7838843"/>
              <a:gd name="connsiteY88" fmla="*/ 0 h 6857997"/>
              <a:gd name="connsiteX89" fmla="*/ 7838843 w 7838843"/>
              <a:gd name="connsiteY89" fmla="*/ 0 h 6857997"/>
              <a:gd name="connsiteX90" fmla="*/ 7838843 w 7838843"/>
              <a:gd name="connsiteY90" fmla="*/ 6857997 h 6857997"/>
              <a:gd name="connsiteX91" fmla="*/ 0 w 7838843"/>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7838843"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7838843" y="0"/>
                </a:lnTo>
                <a:lnTo>
                  <a:pt x="7838843"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6975737" cy="1365942"/>
          </a:xfrm>
          <a:prstGeom prst="rect">
            <a:avLst/>
          </a:prstGeom>
        </p:spPr>
        <p:txBody>
          <a:bodyPr anchor="t">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dirty="0"/>
              <a:t>Click to add a headline </a:t>
            </a:r>
            <a:br>
              <a:rPr lang="en-US" noProof="0" dirty="0"/>
            </a:br>
            <a:r>
              <a:rPr lang="en-US" noProof="0" dirty="0"/>
              <a:t>of maximum three lines</a:t>
            </a:r>
          </a:p>
          <a:p>
            <a:pPr lvl="0"/>
            <a:endParaRPr lang="en-US" noProof="0" dirty="0"/>
          </a:p>
        </p:txBody>
      </p:sp>
      <p:sp>
        <p:nvSpPr>
          <p:cNvPr id="20" name="Chart Placeholder 8">
            <a:extLst>
              <a:ext uri="{FF2B5EF4-FFF2-40B4-BE49-F238E27FC236}">
                <a16:creationId xmlns:a16="http://schemas.microsoft.com/office/drawing/2014/main" id="{BB026610-336B-9444-B5C9-29901CCC0EC0}"/>
              </a:ext>
            </a:extLst>
          </p:cNvPr>
          <p:cNvSpPr>
            <a:spLocks noGrp="1"/>
          </p:cNvSpPr>
          <p:nvPr>
            <p:ph type="chart" sz="quarter" idx="36" hasCustomPrompt="1"/>
          </p:nvPr>
        </p:nvSpPr>
        <p:spPr>
          <a:xfrm>
            <a:off x="8311662" y="1062084"/>
            <a:ext cx="3106615" cy="3054107"/>
          </a:xfrm>
        </p:spPr>
        <p:txBody>
          <a:bodyPr/>
          <a:lstStyle>
            <a:lvl1pPr marL="12700" indent="0" algn="ctr">
              <a:buNone/>
              <a:defRPr sz="1300">
                <a:solidFill>
                  <a:schemeClr val="accent1"/>
                </a:solidFill>
              </a:defRPr>
            </a:lvl1pPr>
          </a:lstStyle>
          <a:p>
            <a:r>
              <a:rPr lang="en-US" noProof="0"/>
              <a:t>Click to add chart</a:t>
            </a:r>
          </a:p>
        </p:txBody>
      </p:sp>
      <p:sp>
        <p:nvSpPr>
          <p:cNvPr id="25" name="Text Placeholder 7">
            <a:extLst>
              <a:ext uri="{FF2B5EF4-FFF2-40B4-BE49-F238E27FC236}">
                <a16:creationId xmlns:a16="http://schemas.microsoft.com/office/drawing/2014/main" id="{B520DA9E-0163-F247-8501-7565F6E8DDA8}"/>
              </a:ext>
            </a:extLst>
          </p:cNvPr>
          <p:cNvSpPr>
            <a:spLocks noGrp="1"/>
          </p:cNvSpPr>
          <p:nvPr>
            <p:ph type="body" sz="quarter" idx="37" hasCustomPrompt="1"/>
          </p:nvPr>
        </p:nvSpPr>
        <p:spPr>
          <a:xfrm>
            <a:off x="8142991" y="4409999"/>
            <a:ext cx="3481650" cy="1727275"/>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2" name="Platshållare för text 11">
            <a:extLst>
              <a:ext uri="{FF2B5EF4-FFF2-40B4-BE49-F238E27FC236}">
                <a16:creationId xmlns:a16="http://schemas.microsoft.com/office/drawing/2014/main" id="{34268D0C-E11B-C642-B393-3C933B403356}"/>
              </a:ext>
            </a:extLst>
          </p:cNvPr>
          <p:cNvSpPr>
            <a:spLocks noGrp="1"/>
          </p:cNvSpPr>
          <p:nvPr>
            <p:ph type="body" sz="quarter" idx="20" hasCustomPrompt="1"/>
          </p:nvPr>
        </p:nvSpPr>
        <p:spPr>
          <a:xfrm>
            <a:off x="576001" y="2527200"/>
            <a:ext cx="3487366"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8" name="textruta 17">
            <a:extLst>
              <a:ext uri="{FF2B5EF4-FFF2-40B4-BE49-F238E27FC236}">
                <a16:creationId xmlns:a16="http://schemas.microsoft.com/office/drawing/2014/main" id="{8D3FDA7F-FEF7-5A4F-A6E6-FCE9B54715E2}"/>
              </a:ext>
            </a:extLst>
          </p:cNvPr>
          <p:cNvSpPr txBox="1"/>
          <p:nvPr userDrawn="1"/>
        </p:nvSpPr>
        <p:spPr>
          <a:xfrm>
            <a:off x="12395260" y="4409999"/>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1" name="Picture 9">
            <a:extLst>
              <a:ext uri="{FF2B5EF4-FFF2-40B4-BE49-F238E27FC236}">
                <a16:creationId xmlns:a16="http://schemas.microsoft.com/office/drawing/2014/main" id="{8D5D17FA-2B6B-A546-92A1-E3350691318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314208"/>
            <a:ext cx="1422121" cy="721417"/>
          </a:xfrm>
          <a:prstGeom prst="rect">
            <a:avLst/>
          </a:prstGeom>
          <a:ln w="9525">
            <a:solidFill>
              <a:schemeClr val="tx2"/>
            </a:solidFill>
          </a:ln>
        </p:spPr>
      </p:pic>
      <p:sp>
        <p:nvSpPr>
          <p:cNvPr id="22" name="Oval 4">
            <a:extLst>
              <a:ext uri="{FF2B5EF4-FFF2-40B4-BE49-F238E27FC236}">
                <a16:creationId xmlns:a16="http://schemas.microsoft.com/office/drawing/2014/main" id="{1192E461-E279-7141-82CE-BA8A88897DE1}"/>
              </a:ext>
            </a:extLst>
          </p:cNvPr>
          <p:cNvSpPr/>
          <p:nvPr userDrawn="1"/>
        </p:nvSpPr>
        <p:spPr>
          <a:xfrm>
            <a:off x="13194299" y="5537505"/>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3" name="Connector: Elbow 131">
            <a:extLst>
              <a:ext uri="{FF2B5EF4-FFF2-40B4-BE49-F238E27FC236}">
                <a16:creationId xmlns:a16="http://schemas.microsoft.com/office/drawing/2014/main" id="{7C6A921D-C76D-3D4C-B6A1-49E36AE156AA}"/>
              </a:ext>
            </a:extLst>
          </p:cNvPr>
          <p:cNvCxnSpPr>
            <a:cxnSpLocks/>
            <a:endCxn id="22" idx="0"/>
          </p:cNvCxnSpPr>
          <p:nvPr userDrawn="1"/>
        </p:nvCxnSpPr>
        <p:spPr>
          <a:xfrm rot="5400000">
            <a:off x="13324711" y="5265685"/>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ruta 5">
            <a:extLst>
              <a:ext uri="{FF2B5EF4-FFF2-40B4-BE49-F238E27FC236}">
                <a16:creationId xmlns:a16="http://schemas.microsoft.com/office/drawing/2014/main" id="{A4463C7D-F504-3941-8FDA-E34C13DFC7E5}"/>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26" name="textruta 25">
            <a:extLst>
              <a:ext uri="{FF2B5EF4-FFF2-40B4-BE49-F238E27FC236}">
                <a16:creationId xmlns:a16="http://schemas.microsoft.com/office/drawing/2014/main" id="{EDD868E4-C5F9-F44E-8E83-38E1C61A87CF}"/>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27" name="Rektangel 26">
            <a:extLst>
              <a:ext uri="{FF2B5EF4-FFF2-40B4-BE49-F238E27FC236}">
                <a16:creationId xmlns:a16="http://schemas.microsoft.com/office/drawing/2014/main" id="{34A09CD3-BE5C-4742-A5D0-0770E0DF2B53}"/>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8" name="Rektangel 27">
            <a:extLst>
              <a:ext uri="{FF2B5EF4-FFF2-40B4-BE49-F238E27FC236}">
                <a16:creationId xmlns:a16="http://schemas.microsoft.com/office/drawing/2014/main" id="{D75D8CC9-6E65-624D-95DA-4173446B3AAB}"/>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Platshållare för datum 3">
            <a:extLst>
              <a:ext uri="{FF2B5EF4-FFF2-40B4-BE49-F238E27FC236}">
                <a16:creationId xmlns:a16="http://schemas.microsoft.com/office/drawing/2014/main" id="{6ED577CA-4918-8542-8E6E-7D394D4010D4}"/>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C3959E38-2BA5-4386-899C-F1A220FEEB7B}" type="datetime1">
              <a:rPr lang="en-US" noProof="0" smtClean="0"/>
              <a:t>11/1/2023</a:t>
            </a:fld>
            <a:endParaRPr lang="en-US" noProof="0"/>
          </a:p>
        </p:txBody>
      </p:sp>
      <p:sp>
        <p:nvSpPr>
          <p:cNvPr id="30" name="Platshållare för sidfot 4">
            <a:extLst>
              <a:ext uri="{FF2B5EF4-FFF2-40B4-BE49-F238E27FC236}">
                <a16:creationId xmlns:a16="http://schemas.microsoft.com/office/drawing/2014/main" id="{79B6E22E-6B8C-C24F-B68A-E5A5857D45BA}"/>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31" name="Platshållare för bildnummer 5">
            <a:extLst>
              <a:ext uri="{FF2B5EF4-FFF2-40B4-BE49-F238E27FC236}">
                <a16:creationId xmlns:a16="http://schemas.microsoft.com/office/drawing/2014/main" id="{EAE63384-4E26-1748-83AC-28C58AF22243}"/>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32" name="Text Placeholder 4">
            <a:extLst>
              <a:ext uri="{FF2B5EF4-FFF2-40B4-BE49-F238E27FC236}">
                <a16:creationId xmlns:a16="http://schemas.microsoft.com/office/drawing/2014/main" id="{426CE449-BA7F-F046-9CEA-601C9BFEBFB1}"/>
              </a:ext>
            </a:extLst>
          </p:cNvPr>
          <p:cNvSpPr>
            <a:spLocks noGrp="1"/>
          </p:cNvSpPr>
          <p:nvPr>
            <p:ph type="body" sz="quarter" idx="16" hasCustomPrompt="1"/>
          </p:nvPr>
        </p:nvSpPr>
        <p:spPr>
          <a:xfrm rot="5400000">
            <a:off x="6548578"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1635408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 Full Table">
    <p:spTree>
      <p:nvGrpSpPr>
        <p:cNvPr id="1" name=""/>
        <p:cNvGrpSpPr/>
        <p:nvPr/>
      </p:nvGrpSpPr>
      <p:grpSpPr>
        <a:xfrm>
          <a:off x="0" y="0"/>
          <a:ext cx="0" cy="0"/>
          <a:chOff x="0" y="0"/>
          <a:chExt cx="0" cy="0"/>
        </a:xfrm>
      </p:grpSpPr>
      <p:sp>
        <p:nvSpPr>
          <p:cNvPr id="14" name="Text Placeholder 18">
            <a:extLst>
              <a:ext uri="{FF2B5EF4-FFF2-40B4-BE49-F238E27FC236}">
                <a16:creationId xmlns:a16="http://schemas.microsoft.com/office/drawing/2014/main" id="{50DAC6A8-070F-A541-973B-11A3E7A90998}"/>
              </a:ext>
            </a:extLst>
          </p:cNvPr>
          <p:cNvSpPr>
            <a:spLocks noGrp="1"/>
          </p:cNvSpPr>
          <p:nvPr>
            <p:ph type="body" sz="quarter" idx="14" hasCustomPrompt="1"/>
          </p:nvPr>
        </p:nvSpPr>
        <p:spPr>
          <a:xfrm>
            <a:off x="576000" y="731027"/>
            <a:ext cx="11039738" cy="421200"/>
          </a:xfrm>
          <a:prstGeom prst="rect">
            <a:avLst/>
          </a:prstGeom>
        </p:spPr>
        <p:txBody>
          <a:bodyPr anchor="t">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dirty="0"/>
              <a:t>Click for a short headline of one line</a:t>
            </a:r>
          </a:p>
        </p:txBody>
      </p:sp>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6" name="Table Placeholder 5">
            <a:extLst>
              <a:ext uri="{FF2B5EF4-FFF2-40B4-BE49-F238E27FC236}">
                <a16:creationId xmlns:a16="http://schemas.microsoft.com/office/drawing/2014/main" id="{9D72F005-92A7-3E40-AE8B-C0483ED6C406}"/>
              </a:ext>
            </a:extLst>
          </p:cNvPr>
          <p:cNvSpPr>
            <a:spLocks noGrp="1"/>
          </p:cNvSpPr>
          <p:nvPr>
            <p:ph type="tbl" sz="quarter" idx="19" hasCustomPrompt="1"/>
          </p:nvPr>
        </p:nvSpPr>
        <p:spPr>
          <a:xfrm>
            <a:off x="576263" y="2098801"/>
            <a:ext cx="11039475" cy="4037362"/>
          </a:xfrm>
        </p:spPr>
        <p:txBody>
          <a:bodyPr/>
          <a:lstStyle>
            <a:lvl1pPr marL="12700" indent="0">
              <a:buNone/>
              <a:defRPr sz="1300"/>
            </a:lvl1pPr>
          </a:lstStyle>
          <a:p>
            <a:r>
              <a:rPr lang="en-US" noProof="0"/>
              <a:t>Click to add a table</a:t>
            </a:r>
          </a:p>
        </p:txBody>
      </p:sp>
      <p:sp>
        <p:nvSpPr>
          <p:cNvPr id="15" name="Platshållare för datum 3">
            <a:extLst>
              <a:ext uri="{FF2B5EF4-FFF2-40B4-BE49-F238E27FC236}">
                <a16:creationId xmlns:a16="http://schemas.microsoft.com/office/drawing/2014/main" id="{670F8E42-AC0A-404C-9EE4-93B2A912F9B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FC7CD85A-3A34-4CC7-94C9-2251F34F947D}" type="datetime1">
              <a:rPr lang="en-US" noProof="0" smtClean="0"/>
              <a:t>11/1/2023</a:t>
            </a:fld>
            <a:endParaRPr lang="en-US" noProof="0"/>
          </a:p>
        </p:txBody>
      </p:sp>
      <p:sp>
        <p:nvSpPr>
          <p:cNvPr id="16" name="Platshållare för sidfot 4">
            <a:extLst>
              <a:ext uri="{FF2B5EF4-FFF2-40B4-BE49-F238E27FC236}">
                <a16:creationId xmlns:a16="http://schemas.microsoft.com/office/drawing/2014/main" id="{C9470A9D-83E1-E849-966D-5A0EE3A9986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5" name="Platshållare för bildnummer 5">
            <a:extLst>
              <a:ext uri="{FF2B5EF4-FFF2-40B4-BE49-F238E27FC236}">
                <a16:creationId xmlns:a16="http://schemas.microsoft.com/office/drawing/2014/main" id="{6248F2C8-CF76-CD47-89F9-148F9C8D7F3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26262491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 Icons Text">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1E8E1731-23EB-0B4A-A05C-05B9BCA19C9C}"/>
              </a:ext>
            </a:extLst>
          </p:cNvPr>
          <p:cNvSpPr>
            <a:spLocks noGrp="1"/>
          </p:cNvSpPr>
          <p:nvPr>
            <p:ph type="body" sz="quarter" idx="32" hasCustomPrompt="1"/>
          </p:nvPr>
        </p:nvSpPr>
        <p:spPr>
          <a:xfrm>
            <a:off x="3416920"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2" name="Text Placeholder 7">
            <a:extLst>
              <a:ext uri="{FF2B5EF4-FFF2-40B4-BE49-F238E27FC236}">
                <a16:creationId xmlns:a16="http://schemas.microsoft.com/office/drawing/2014/main" id="{2338588B-5749-8548-8A92-845B34954343}"/>
              </a:ext>
            </a:extLst>
          </p:cNvPr>
          <p:cNvSpPr>
            <a:spLocks noGrp="1"/>
          </p:cNvSpPr>
          <p:nvPr>
            <p:ph type="body" sz="quarter" idx="35" hasCustomPrompt="1"/>
          </p:nvPr>
        </p:nvSpPr>
        <p:spPr>
          <a:xfrm>
            <a:off x="6250746"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3" name="Text Placeholder 7">
            <a:extLst>
              <a:ext uri="{FF2B5EF4-FFF2-40B4-BE49-F238E27FC236}">
                <a16:creationId xmlns:a16="http://schemas.microsoft.com/office/drawing/2014/main" id="{B2D2E607-59C0-854C-9641-8FC1939742CC}"/>
              </a:ext>
            </a:extLst>
          </p:cNvPr>
          <p:cNvSpPr>
            <a:spLocks noGrp="1"/>
          </p:cNvSpPr>
          <p:nvPr>
            <p:ph type="body" sz="quarter" idx="37" hasCustomPrompt="1"/>
          </p:nvPr>
        </p:nvSpPr>
        <p:spPr>
          <a:xfrm>
            <a:off x="9084571"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4" name="Text Placeholder 18">
            <a:extLst>
              <a:ext uri="{FF2B5EF4-FFF2-40B4-BE49-F238E27FC236}">
                <a16:creationId xmlns:a16="http://schemas.microsoft.com/office/drawing/2014/main" id="{50DAC6A8-070F-A541-973B-11A3E7A90998}"/>
              </a:ext>
            </a:extLst>
          </p:cNvPr>
          <p:cNvSpPr>
            <a:spLocks noGrp="1"/>
          </p:cNvSpPr>
          <p:nvPr>
            <p:ph type="body" sz="quarter" idx="14" hasCustomPrompt="1"/>
          </p:nvPr>
        </p:nvSpPr>
        <p:spPr>
          <a:xfrm>
            <a:off x="576000" y="731027"/>
            <a:ext cx="11039738" cy="421200"/>
          </a:xfrm>
          <a:prstGeom prst="rect">
            <a:avLst/>
          </a:prstGeom>
        </p:spPr>
        <p:txBody>
          <a:bodyPr anchor="t">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dirty="0"/>
              <a:t>Click for a short headline of one line</a:t>
            </a:r>
          </a:p>
        </p:txBody>
      </p:sp>
      <p:sp>
        <p:nvSpPr>
          <p:cNvPr id="15" name="Text Placeholder 7">
            <a:extLst>
              <a:ext uri="{FF2B5EF4-FFF2-40B4-BE49-F238E27FC236}">
                <a16:creationId xmlns:a16="http://schemas.microsoft.com/office/drawing/2014/main" id="{CD04EC2E-C805-E64A-BBA4-8DECB98EE820}"/>
              </a:ext>
            </a:extLst>
          </p:cNvPr>
          <p:cNvSpPr>
            <a:spLocks noGrp="1"/>
          </p:cNvSpPr>
          <p:nvPr>
            <p:ph type="body" sz="quarter" idx="38" hasCustomPrompt="1"/>
          </p:nvPr>
        </p:nvSpPr>
        <p:spPr>
          <a:xfrm>
            <a:off x="583094"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5" name="Picture Placeholder 4">
            <a:extLst>
              <a:ext uri="{FF2B5EF4-FFF2-40B4-BE49-F238E27FC236}">
                <a16:creationId xmlns:a16="http://schemas.microsoft.com/office/drawing/2014/main" id="{664BB5C8-D6D6-9E45-86B2-CADD71FC5C88}"/>
              </a:ext>
            </a:extLst>
          </p:cNvPr>
          <p:cNvSpPr>
            <a:spLocks noGrp="1"/>
          </p:cNvSpPr>
          <p:nvPr>
            <p:ph type="pic" sz="quarter" idx="39" hasCustomPrompt="1"/>
          </p:nvPr>
        </p:nvSpPr>
        <p:spPr>
          <a:xfrm>
            <a:off x="858744"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30" name="Picture Placeholder 4">
            <a:extLst>
              <a:ext uri="{FF2B5EF4-FFF2-40B4-BE49-F238E27FC236}">
                <a16:creationId xmlns:a16="http://schemas.microsoft.com/office/drawing/2014/main" id="{21B4219E-EAF7-A840-BD4B-30965C2453D6}"/>
              </a:ext>
            </a:extLst>
          </p:cNvPr>
          <p:cNvSpPr>
            <a:spLocks noGrp="1"/>
          </p:cNvSpPr>
          <p:nvPr>
            <p:ph type="pic" sz="quarter" idx="40" hasCustomPrompt="1"/>
          </p:nvPr>
        </p:nvSpPr>
        <p:spPr>
          <a:xfrm>
            <a:off x="3692570"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31" name="Picture Placeholder 4">
            <a:extLst>
              <a:ext uri="{FF2B5EF4-FFF2-40B4-BE49-F238E27FC236}">
                <a16:creationId xmlns:a16="http://schemas.microsoft.com/office/drawing/2014/main" id="{3E3297E1-ECDE-7F49-9333-F2D3B667B9E2}"/>
              </a:ext>
            </a:extLst>
          </p:cNvPr>
          <p:cNvSpPr>
            <a:spLocks noGrp="1"/>
          </p:cNvSpPr>
          <p:nvPr>
            <p:ph type="pic" sz="quarter" idx="41" hasCustomPrompt="1"/>
          </p:nvPr>
        </p:nvSpPr>
        <p:spPr>
          <a:xfrm>
            <a:off x="6526396"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32" name="Picture Placeholder 4">
            <a:extLst>
              <a:ext uri="{FF2B5EF4-FFF2-40B4-BE49-F238E27FC236}">
                <a16:creationId xmlns:a16="http://schemas.microsoft.com/office/drawing/2014/main" id="{791D8F08-C508-FA4F-98BC-992A22771E82}"/>
              </a:ext>
            </a:extLst>
          </p:cNvPr>
          <p:cNvSpPr>
            <a:spLocks noGrp="1"/>
          </p:cNvSpPr>
          <p:nvPr>
            <p:ph type="pic" sz="quarter" idx="42" hasCustomPrompt="1"/>
          </p:nvPr>
        </p:nvSpPr>
        <p:spPr>
          <a:xfrm>
            <a:off x="9360221" y="2133600"/>
            <a:ext cx="1979867" cy="1828800"/>
          </a:xfrm>
        </p:spPr>
        <p:txBody>
          <a:bodyPr/>
          <a:lstStyle>
            <a:lvl1pPr marL="12700" indent="0" algn="ctr">
              <a:buNone/>
              <a:defRPr sz="1300">
                <a:solidFill>
                  <a:schemeClr val="accent1"/>
                </a:solidFill>
              </a:defRPr>
            </a:lvl1pPr>
          </a:lstStyle>
          <a:p>
            <a:r>
              <a:rPr lang="en-US" noProof="0"/>
              <a:t>Click to add icon</a:t>
            </a:r>
          </a:p>
        </p:txBody>
      </p:sp>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5" name="textruta 24">
            <a:extLst>
              <a:ext uri="{FF2B5EF4-FFF2-40B4-BE49-F238E27FC236}">
                <a16:creationId xmlns:a16="http://schemas.microsoft.com/office/drawing/2014/main" id="{6FF8A552-8B94-0248-98BE-FC41CCC7238C}"/>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6" name="Picture 9">
            <a:extLst>
              <a:ext uri="{FF2B5EF4-FFF2-40B4-BE49-F238E27FC236}">
                <a16:creationId xmlns:a16="http://schemas.microsoft.com/office/drawing/2014/main" id="{93794F68-FA77-DA48-9A1A-E02A2FFA083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27" name="Oval 4">
            <a:extLst>
              <a:ext uri="{FF2B5EF4-FFF2-40B4-BE49-F238E27FC236}">
                <a16:creationId xmlns:a16="http://schemas.microsoft.com/office/drawing/2014/main" id="{5241205B-C4DB-DD49-956F-BF07FDFE2B88}"/>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8" name="Connector: Elbow 131">
            <a:extLst>
              <a:ext uri="{FF2B5EF4-FFF2-40B4-BE49-F238E27FC236}">
                <a16:creationId xmlns:a16="http://schemas.microsoft.com/office/drawing/2014/main" id="{51B26D0D-F6C6-4746-9A73-F3230C78CC13}"/>
              </a:ext>
            </a:extLst>
          </p:cNvPr>
          <p:cNvCxnSpPr>
            <a:cxnSpLocks/>
            <a:endCxn id="27"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Platshållare för datum 3">
            <a:extLst>
              <a:ext uri="{FF2B5EF4-FFF2-40B4-BE49-F238E27FC236}">
                <a16:creationId xmlns:a16="http://schemas.microsoft.com/office/drawing/2014/main" id="{F108AD82-72FC-B14A-AB1D-3531EE1EF2A5}"/>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88B3696D-A0A1-434D-BFAD-2CA8DE58A743}" type="datetime1">
              <a:rPr lang="en-US" noProof="0" smtClean="0"/>
              <a:t>11/1/2023</a:t>
            </a:fld>
            <a:endParaRPr lang="en-US" noProof="0"/>
          </a:p>
        </p:txBody>
      </p:sp>
      <p:sp>
        <p:nvSpPr>
          <p:cNvPr id="33" name="Platshållare för sidfot 4">
            <a:extLst>
              <a:ext uri="{FF2B5EF4-FFF2-40B4-BE49-F238E27FC236}">
                <a16:creationId xmlns:a16="http://schemas.microsoft.com/office/drawing/2014/main" id="{C4EB0FB3-7424-E64E-9E1F-C82858E84CA5}"/>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34" name="Platshållare för bildnummer 5">
            <a:extLst>
              <a:ext uri="{FF2B5EF4-FFF2-40B4-BE49-F238E27FC236}">
                <a16:creationId xmlns:a16="http://schemas.microsoft.com/office/drawing/2014/main" id="{F618CE27-EA31-0640-9BB9-B364046C3B3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21953503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 Icons Text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1" name="Text Placeholder 7">
            <a:extLst>
              <a:ext uri="{FF2B5EF4-FFF2-40B4-BE49-F238E27FC236}">
                <a16:creationId xmlns:a16="http://schemas.microsoft.com/office/drawing/2014/main" id="{1E8E1731-23EB-0B4A-A05C-05B9BCA19C9C}"/>
              </a:ext>
            </a:extLst>
          </p:cNvPr>
          <p:cNvSpPr>
            <a:spLocks noGrp="1"/>
          </p:cNvSpPr>
          <p:nvPr>
            <p:ph type="body" sz="quarter" idx="32" hasCustomPrompt="1"/>
          </p:nvPr>
        </p:nvSpPr>
        <p:spPr>
          <a:xfrm>
            <a:off x="3416920"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2" name="Text Placeholder 7">
            <a:extLst>
              <a:ext uri="{FF2B5EF4-FFF2-40B4-BE49-F238E27FC236}">
                <a16:creationId xmlns:a16="http://schemas.microsoft.com/office/drawing/2014/main" id="{2338588B-5749-8548-8A92-845B34954343}"/>
              </a:ext>
            </a:extLst>
          </p:cNvPr>
          <p:cNvSpPr>
            <a:spLocks noGrp="1"/>
          </p:cNvSpPr>
          <p:nvPr>
            <p:ph type="body" sz="quarter" idx="35" hasCustomPrompt="1"/>
          </p:nvPr>
        </p:nvSpPr>
        <p:spPr>
          <a:xfrm>
            <a:off x="6250746"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3" name="Text Placeholder 7">
            <a:extLst>
              <a:ext uri="{FF2B5EF4-FFF2-40B4-BE49-F238E27FC236}">
                <a16:creationId xmlns:a16="http://schemas.microsoft.com/office/drawing/2014/main" id="{B2D2E607-59C0-854C-9641-8FC1939742CC}"/>
              </a:ext>
            </a:extLst>
          </p:cNvPr>
          <p:cNvSpPr>
            <a:spLocks noGrp="1"/>
          </p:cNvSpPr>
          <p:nvPr>
            <p:ph type="body" sz="quarter" idx="37" hasCustomPrompt="1"/>
          </p:nvPr>
        </p:nvSpPr>
        <p:spPr>
          <a:xfrm>
            <a:off x="9084571"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4" name="Text Placeholder 18">
            <a:extLst>
              <a:ext uri="{FF2B5EF4-FFF2-40B4-BE49-F238E27FC236}">
                <a16:creationId xmlns:a16="http://schemas.microsoft.com/office/drawing/2014/main" id="{50DAC6A8-070F-A541-973B-11A3E7A90998}"/>
              </a:ext>
            </a:extLst>
          </p:cNvPr>
          <p:cNvSpPr>
            <a:spLocks noGrp="1"/>
          </p:cNvSpPr>
          <p:nvPr>
            <p:ph type="body" sz="quarter" idx="14" hasCustomPrompt="1"/>
          </p:nvPr>
        </p:nvSpPr>
        <p:spPr>
          <a:xfrm>
            <a:off x="576000" y="731027"/>
            <a:ext cx="11039738" cy="421200"/>
          </a:xfrm>
          <a:prstGeom prst="rect">
            <a:avLst/>
          </a:prstGeom>
        </p:spPr>
        <p:txBody>
          <a:bodyPr anchor="t">
            <a:noAutofit/>
          </a:bodyPr>
          <a:lstStyle>
            <a:lvl1pPr marL="0" indent="0">
              <a:lnSpc>
                <a:spcPct val="85000"/>
              </a:lnSpc>
              <a:spcBef>
                <a:spcPts val="0"/>
              </a:spcBef>
              <a:buNone/>
              <a:defRPr sz="3600" spc="40" baseline="0">
                <a:solidFill>
                  <a:schemeClr val="bg1"/>
                </a:solidFill>
                <a:latin typeface="+mj-lt"/>
              </a:defRPr>
            </a:lvl1pPr>
          </a:lstStyle>
          <a:p>
            <a:pPr lvl="0"/>
            <a:r>
              <a:rPr lang="en-US" noProof="0" dirty="0"/>
              <a:t>Click for a short headline of one line</a:t>
            </a:r>
          </a:p>
        </p:txBody>
      </p:sp>
      <p:sp>
        <p:nvSpPr>
          <p:cNvPr id="15" name="Text Placeholder 7">
            <a:extLst>
              <a:ext uri="{FF2B5EF4-FFF2-40B4-BE49-F238E27FC236}">
                <a16:creationId xmlns:a16="http://schemas.microsoft.com/office/drawing/2014/main" id="{CD04EC2E-C805-E64A-BBA4-8DECB98EE820}"/>
              </a:ext>
            </a:extLst>
          </p:cNvPr>
          <p:cNvSpPr>
            <a:spLocks noGrp="1"/>
          </p:cNvSpPr>
          <p:nvPr>
            <p:ph type="body" sz="quarter" idx="38" hasCustomPrompt="1"/>
          </p:nvPr>
        </p:nvSpPr>
        <p:spPr>
          <a:xfrm>
            <a:off x="583094"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6" name="textruta 15">
            <a:extLst>
              <a:ext uri="{FF2B5EF4-FFF2-40B4-BE49-F238E27FC236}">
                <a16:creationId xmlns:a16="http://schemas.microsoft.com/office/drawing/2014/main" id="{5B557DC7-544E-9044-B335-9376734CE4C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0" name="Picture 9">
            <a:extLst>
              <a:ext uri="{FF2B5EF4-FFF2-40B4-BE49-F238E27FC236}">
                <a16:creationId xmlns:a16="http://schemas.microsoft.com/office/drawing/2014/main" id="{5DB31F11-9F44-8645-A844-3ADA59673FA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21" name="Oval 4">
            <a:extLst>
              <a:ext uri="{FF2B5EF4-FFF2-40B4-BE49-F238E27FC236}">
                <a16:creationId xmlns:a16="http://schemas.microsoft.com/office/drawing/2014/main" id="{A5F2B902-2364-FB49-99E0-D370C6CC7FB2}"/>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2" name="Connector: Elbow 131">
            <a:extLst>
              <a:ext uri="{FF2B5EF4-FFF2-40B4-BE49-F238E27FC236}">
                <a16:creationId xmlns:a16="http://schemas.microsoft.com/office/drawing/2014/main" id="{2EF1A2AE-7440-6E41-8D23-42FC41929565}"/>
              </a:ext>
            </a:extLst>
          </p:cNvPr>
          <p:cNvCxnSpPr>
            <a:cxnSpLocks/>
            <a:endCxn id="21"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Picture Placeholder 4">
            <a:extLst>
              <a:ext uri="{FF2B5EF4-FFF2-40B4-BE49-F238E27FC236}">
                <a16:creationId xmlns:a16="http://schemas.microsoft.com/office/drawing/2014/main" id="{D0E63235-FEA3-D948-A94A-0578C7768948}"/>
              </a:ext>
            </a:extLst>
          </p:cNvPr>
          <p:cNvSpPr>
            <a:spLocks noGrp="1"/>
          </p:cNvSpPr>
          <p:nvPr>
            <p:ph type="pic" sz="quarter" idx="39" hasCustomPrompt="1"/>
          </p:nvPr>
        </p:nvSpPr>
        <p:spPr>
          <a:xfrm>
            <a:off x="858744"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24" name="Picture Placeholder 4">
            <a:extLst>
              <a:ext uri="{FF2B5EF4-FFF2-40B4-BE49-F238E27FC236}">
                <a16:creationId xmlns:a16="http://schemas.microsoft.com/office/drawing/2014/main" id="{FB7545F6-DD9D-304C-9F71-C8CA7EFDC097}"/>
              </a:ext>
            </a:extLst>
          </p:cNvPr>
          <p:cNvSpPr>
            <a:spLocks noGrp="1"/>
          </p:cNvSpPr>
          <p:nvPr>
            <p:ph type="pic" sz="quarter" idx="40" hasCustomPrompt="1"/>
          </p:nvPr>
        </p:nvSpPr>
        <p:spPr>
          <a:xfrm>
            <a:off x="3692570"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25" name="Picture Placeholder 4">
            <a:extLst>
              <a:ext uri="{FF2B5EF4-FFF2-40B4-BE49-F238E27FC236}">
                <a16:creationId xmlns:a16="http://schemas.microsoft.com/office/drawing/2014/main" id="{A03EE993-57A1-F843-87BE-52AFE8FCB895}"/>
              </a:ext>
            </a:extLst>
          </p:cNvPr>
          <p:cNvSpPr>
            <a:spLocks noGrp="1"/>
          </p:cNvSpPr>
          <p:nvPr>
            <p:ph type="pic" sz="quarter" idx="41" hasCustomPrompt="1"/>
          </p:nvPr>
        </p:nvSpPr>
        <p:spPr>
          <a:xfrm>
            <a:off x="6526396"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26" name="Picture Placeholder 4">
            <a:extLst>
              <a:ext uri="{FF2B5EF4-FFF2-40B4-BE49-F238E27FC236}">
                <a16:creationId xmlns:a16="http://schemas.microsoft.com/office/drawing/2014/main" id="{BFA14DDB-89C6-5E45-A9BC-61F9CE9E1FCA}"/>
              </a:ext>
            </a:extLst>
          </p:cNvPr>
          <p:cNvSpPr>
            <a:spLocks noGrp="1"/>
          </p:cNvSpPr>
          <p:nvPr>
            <p:ph type="pic" sz="quarter" idx="42" hasCustomPrompt="1"/>
          </p:nvPr>
        </p:nvSpPr>
        <p:spPr>
          <a:xfrm>
            <a:off x="9360221"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19" name="Platshållare för datum 3">
            <a:extLst>
              <a:ext uri="{FF2B5EF4-FFF2-40B4-BE49-F238E27FC236}">
                <a16:creationId xmlns:a16="http://schemas.microsoft.com/office/drawing/2014/main" id="{3E533940-02A5-A44C-99C4-528A46A184B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B96FBBDD-4414-4792-B6A4-A6C6C72DFC93}" type="datetime1">
              <a:rPr lang="en-US" smtClean="0"/>
              <a:t>11/1/2023</a:t>
            </a:fld>
            <a:endParaRPr lang="en-US"/>
          </a:p>
        </p:txBody>
      </p:sp>
      <p:sp>
        <p:nvSpPr>
          <p:cNvPr id="27" name="Platshållare för sidfot 4">
            <a:extLst>
              <a:ext uri="{FF2B5EF4-FFF2-40B4-BE49-F238E27FC236}">
                <a16:creationId xmlns:a16="http://schemas.microsoft.com/office/drawing/2014/main" id="{5F5CD060-CDC0-1D48-B04C-8511F91A14EA}"/>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8" name="Platshållare för bildnummer 5">
            <a:extLst>
              <a:ext uri="{FF2B5EF4-FFF2-40B4-BE49-F238E27FC236}">
                <a16:creationId xmlns:a16="http://schemas.microsoft.com/office/drawing/2014/main" id="{85494874-3942-6145-8A0D-2EC0BF3C1B0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25908944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 Phone Mockup">
    <p:spTree>
      <p:nvGrpSpPr>
        <p:cNvPr id="1" name=""/>
        <p:cNvGrpSpPr/>
        <p:nvPr/>
      </p:nvGrpSpPr>
      <p:grpSpPr>
        <a:xfrm>
          <a:off x="0" y="0"/>
          <a:ext cx="0" cy="0"/>
          <a:chOff x="0" y="0"/>
          <a:chExt cx="0" cy="0"/>
        </a:xfrm>
      </p:grpSpPr>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pic>
        <p:nvPicPr>
          <p:cNvPr id="25" name="Bildobjekt 15">
            <a:extLst>
              <a:ext uri="{FF2B5EF4-FFF2-40B4-BE49-F238E27FC236}">
                <a16:creationId xmlns:a16="http://schemas.microsoft.com/office/drawing/2014/main" id="{13ED98E9-C731-A94B-BFD5-2ECE623D380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43227" y="571905"/>
            <a:ext cx="2979174" cy="5704803"/>
          </a:xfrm>
          <a:prstGeom prst="rect">
            <a:avLst/>
          </a:prstGeom>
        </p:spPr>
      </p:pic>
      <p:sp>
        <p:nvSpPr>
          <p:cNvPr id="26" name="Text Placeholder 18">
            <a:extLst>
              <a:ext uri="{FF2B5EF4-FFF2-40B4-BE49-F238E27FC236}">
                <a16:creationId xmlns:a16="http://schemas.microsoft.com/office/drawing/2014/main" id="{A6ED295F-AFF0-3548-BAA8-8DAFA2BDE3F6}"/>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hree lines</a:t>
            </a:r>
          </a:p>
        </p:txBody>
      </p:sp>
      <p:sp>
        <p:nvSpPr>
          <p:cNvPr id="29" name="Picture Placeholder 28">
            <a:extLst>
              <a:ext uri="{FF2B5EF4-FFF2-40B4-BE49-F238E27FC236}">
                <a16:creationId xmlns:a16="http://schemas.microsoft.com/office/drawing/2014/main" id="{A08EABB5-1663-9D44-9EDB-6442B31EC5D9}"/>
              </a:ext>
            </a:extLst>
          </p:cNvPr>
          <p:cNvSpPr>
            <a:spLocks noGrp="1"/>
          </p:cNvSpPr>
          <p:nvPr>
            <p:ph type="pic" sz="quarter" idx="20" hasCustomPrompt="1"/>
          </p:nvPr>
        </p:nvSpPr>
        <p:spPr>
          <a:xfrm>
            <a:off x="7686262" y="874644"/>
            <a:ext cx="2451652" cy="5155096"/>
          </a:xfrm>
          <a:custGeom>
            <a:avLst/>
            <a:gdLst>
              <a:gd name="connsiteX0" fmla="*/ 246293 w 2451652"/>
              <a:gd name="connsiteY0" fmla="*/ 0 h 5155096"/>
              <a:gd name="connsiteX1" fmla="*/ 2205359 w 2451652"/>
              <a:gd name="connsiteY1" fmla="*/ 0 h 5155096"/>
              <a:gd name="connsiteX2" fmla="*/ 2451652 w 2451652"/>
              <a:gd name="connsiteY2" fmla="*/ 246293 h 5155096"/>
              <a:gd name="connsiteX3" fmla="*/ 2451652 w 2451652"/>
              <a:gd name="connsiteY3" fmla="*/ 4908803 h 5155096"/>
              <a:gd name="connsiteX4" fmla="*/ 2205359 w 2451652"/>
              <a:gd name="connsiteY4" fmla="*/ 5155096 h 5155096"/>
              <a:gd name="connsiteX5" fmla="*/ 246293 w 2451652"/>
              <a:gd name="connsiteY5" fmla="*/ 5155096 h 5155096"/>
              <a:gd name="connsiteX6" fmla="*/ 0 w 2451652"/>
              <a:gd name="connsiteY6" fmla="*/ 4908803 h 5155096"/>
              <a:gd name="connsiteX7" fmla="*/ 0 w 2451652"/>
              <a:gd name="connsiteY7" fmla="*/ 246293 h 5155096"/>
              <a:gd name="connsiteX8" fmla="*/ 246293 w 2451652"/>
              <a:gd name="connsiteY8" fmla="*/ 0 h 5155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1652" h="5155096">
                <a:moveTo>
                  <a:pt x="246293" y="0"/>
                </a:moveTo>
                <a:lnTo>
                  <a:pt x="2205359" y="0"/>
                </a:lnTo>
                <a:cubicBezTo>
                  <a:pt x="2341383" y="0"/>
                  <a:pt x="2451652" y="110269"/>
                  <a:pt x="2451652" y="246293"/>
                </a:cubicBezTo>
                <a:lnTo>
                  <a:pt x="2451652" y="4908803"/>
                </a:lnTo>
                <a:cubicBezTo>
                  <a:pt x="2451652" y="5044827"/>
                  <a:pt x="2341383" y="5155096"/>
                  <a:pt x="2205359" y="5155096"/>
                </a:cubicBezTo>
                <a:lnTo>
                  <a:pt x="246293" y="5155096"/>
                </a:lnTo>
                <a:cubicBezTo>
                  <a:pt x="110269" y="5155096"/>
                  <a:pt x="0" y="5044827"/>
                  <a:pt x="0" y="4908803"/>
                </a:cubicBezTo>
                <a:lnTo>
                  <a:pt x="0" y="246293"/>
                </a:lnTo>
                <a:cubicBezTo>
                  <a:pt x="0" y="110269"/>
                  <a:pt x="110269" y="0"/>
                  <a:pt x="246293" y="0"/>
                </a:cubicBezTo>
                <a:close/>
              </a:path>
            </a:pathLst>
          </a:custGeom>
          <a:solidFill>
            <a:schemeClr val="bg1">
              <a:lumMod val="85000"/>
            </a:schemeClr>
          </a:solidFill>
        </p:spPr>
        <p:txBody>
          <a:bodyPr wrap="square" lIns="108000" tIns="108000" rIns="144000">
            <a:noAutofit/>
          </a:bodyPr>
          <a:lstStyle>
            <a:lvl1pPr marL="12700" indent="0" algn="ctr">
              <a:spcBef>
                <a:spcPts val="0"/>
              </a:spcBef>
              <a:buNone/>
              <a:defRPr sz="1300"/>
            </a:lvl1pPr>
          </a:lstStyle>
          <a:p>
            <a:r>
              <a:rPr lang="en-US" noProof="0"/>
              <a:t>Click on the icon to add a print screen or image</a:t>
            </a:r>
          </a:p>
        </p:txBody>
      </p:sp>
      <p:sp>
        <p:nvSpPr>
          <p:cNvPr id="28" name="Platshållare för text 11">
            <a:extLst>
              <a:ext uri="{FF2B5EF4-FFF2-40B4-BE49-F238E27FC236}">
                <a16:creationId xmlns:a16="http://schemas.microsoft.com/office/drawing/2014/main" id="{E31C1F6F-95FC-D448-89F4-1960D28114DB}"/>
              </a:ext>
            </a:extLst>
          </p:cNvPr>
          <p:cNvSpPr>
            <a:spLocks noGrp="1"/>
          </p:cNvSpPr>
          <p:nvPr>
            <p:ph type="body" sz="quarter" idx="21"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7" name="Platshållare för datum 3">
            <a:extLst>
              <a:ext uri="{FF2B5EF4-FFF2-40B4-BE49-F238E27FC236}">
                <a16:creationId xmlns:a16="http://schemas.microsoft.com/office/drawing/2014/main" id="{2637DBA1-D261-724E-93F9-5E39FC5E070D}"/>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3AE2E56F-87F9-4471-AF28-9011276B0E28}" type="datetime1">
              <a:rPr lang="en-US" noProof="0" smtClean="0"/>
              <a:t>11/1/2023</a:t>
            </a:fld>
            <a:endParaRPr lang="en-US" noProof="0"/>
          </a:p>
        </p:txBody>
      </p:sp>
      <p:sp>
        <p:nvSpPr>
          <p:cNvPr id="30" name="Platshållare för sidfot 4">
            <a:extLst>
              <a:ext uri="{FF2B5EF4-FFF2-40B4-BE49-F238E27FC236}">
                <a16:creationId xmlns:a16="http://schemas.microsoft.com/office/drawing/2014/main" id="{038997BA-D372-9543-B729-46FF4A74C647}"/>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31" name="Platshållare för bildnummer 5">
            <a:extLst>
              <a:ext uri="{FF2B5EF4-FFF2-40B4-BE49-F238E27FC236}">
                <a16:creationId xmlns:a16="http://schemas.microsoft.com/office/drawing/2014/main" id="{3ECA4266-AEC4-3246-A758-D7CAB8F0A87B}"/>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0594169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 Tablet Mockup">
    <p:spTree>
      <p:nvGrpSpPr>
        <p:cNvPr id="1" name=""/>
        <p:cNvGrpSpPr/>
        <p:nvPr/>
      </p:nvGrpSpPr>
      <p:grpSpPr>
        <a:xfrm>
          <a:off x="0" y="0"/>
          <a:ext cx="0" cy="0"/>
          <a:chOff x="0" y="0"/>
          <a:chExt cx="0" cy="0"/>
        </a:xfrm>
      </p:grpSpPr>
      <p:pic>
        <p:nvPicPr>
          <p:cNvPr id="30" name="Bildobjekt 14">
            <a:extLst>
              <a:ext uri="{FF2B5EF4-FFF2-40B4-BE49-F238E27FC236}">
                <a16:creationId xmlns:a16="http://schemas.microsoft.com/office/drawing/2014/main" id="{99BEB798-BAD7-994E-B336-1BA64B6632D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689177" y="613726"/>
            <a:ext cx="4325139" cy="5646397"/>
          </a:xfrm>
          <a:prstGeom prst="rect">
            <a:avLst/>
          </a:prstGeom>
        </p:spPr>
      </p:pic>
      <p:sp>
        <p:nvSpPr>
          <p:cNvPr id="32" name="Picture Placeholder 31">
            <a:extLst>
              <a:ext uri="{FF2B5EF4-FFF2-40B4-BE49-F238E27FC236}">
                <a16:creationId xmlns:a16="http://schemas.microsoft.com/office/drawing/2014/main" id="{44B08C3B-79C1-2849-BF8E-3F68C34C99EB}"/>
              </a:ext>
            </a:extLst>
          </p:cNvPr>
          <p:cNvSpPr>
            <a:spLocks noGrp="1"/>
          </p:cNvSpPr>
          <p:nvPr>
            <p:ph type="pic" sz="quarter" idx="20" hasCustomPrompt="1"/>
          </p:nvPr>
        </p:nvSpPr>
        <p:spPr>
          <a:xfrm>
            <a:off x="6936658" y="875071"/>
            <a:ext cx="3854245" cy="5132439"/>
          </a:xfrm>
          <a:custGeom>
            <a:avLst/>
            <a:gdLst>
              <a:gd name="connsiteX0" fmla="*/ 112814 w 3854245"/>
              <a:gd name="connsiteY0" fmla="*/ 0 h 5132439"/>
              <a:gd name="connsiteX1" fmla="*/ 3741431 w 3854245"/>
              <a:gd name="connsiteY1" fmla="*/ 0 h 5132439"/>
              <a:gd name="connsiteX2" fmla="*/ 3854245 w 3854245"/>
              <a:gd name="connsiteY2" fmla="*/ 112814 h 5132439"/>
              <a:gd name="connsiteX3" fmla="*/ 3854245 w 3854245"/>
              <a:gd name="connsiteY3" fmla="*/ 5019625 h 5132439"/>
              <a:gd name="connsiteX4" fmla="*/ 3741431 w 3854245"/>
              <a:gd name="connsiteY4" fmla="*/ 5132439 h 5132439"/>
              <a:gd name="connsiteX5" fmla="*/ 112814 w 3854245"/>
              <a:gd name="connsiteY5" fmla="*/ 5132439 h 5132439"/>
              <a:gd name="connsiteX6" fmla="*/ 0 w 3854245"/>
              <a:gd name="connsiteY6" fmla="*/ 5019625 h 5132439"/>
              <a:gd name="connsiteX7" fmla="*/ 0 w 3854245"/>
              <a:gd name="connsiteY7" fmla="*/ 112814 h 5132439"/>
              <a:gd name="connsiteX8" fmla="*/ 112814 w 3854245"/>
              <a:gd name="connsiteY8" fmla="*/ 0 h 513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4245" h="5132439">
                <a:moveTo>
                  <a:pt x="112814" y="0"/>
                </a:moveTo>
                <a:lnTo>
                  <a:pt x="3741431" y="0"/>
                </a:lnTo>
                <a:cubicBezTo>
                  <a:pt x="3803736" y="0"/>
                  <a:pt x="3854245" y="50509"/>
                  <a:pt x="3854245" y="112814"/>
                </a:cubicBezTo>
                <a:lnTo>
                  <a:pt x="3854245" y="5019625"/>
                </a:lnTo>
                <a:cubicBezTo>
                  <a:pt x="3854245" y="5081930"/>
                  <a:pt x="3803736" y="5132439"/>
                  <a:pt x="3741431" y="5132439"/>
                </a:cubicBezTo>
                <a:lnTo>
                  <a:pt x="112814" y="5132439"/>
                </a:lnTo>
                <a:cubicBezTo>
                  <a:pt x="50509" y="5132439"/>
                  <a:pt x="0" y="5081930"/>
                  <a:pt x="0" y="5019625"/>
                </a:cubicBezTo>
                <a:lnTo>
                  <a:pt x="0" y="112814"/>
                </a:lnTo>
                <a:cubicBezTo>
                  <a:pt x="0" y="50509"/>
                  <a:pt x="50509" y="0"/>
                  <a:pt x="112814" y="0"/>
                </a:cubicBezTo>
                <a:close/>
              </a:path>
            </a:pathLst>
          </a:custGeom>
          <a:solidFill>
            <a:schemeClr val="bg1">
              <a:lumMod val="85000"/>
            </a:schemeClr>
          </a:solidFill>
        </p:spPr>
        <p:txBody>
          <a:bodyPr wrap="square" lIns="108000" tIns="108000" rIns="144000">
            <a:noAutofit/>
          </a:bodyPr>
          <a:lstStyle>
            <a:lvl1pPr marL="12700" indent="0" algn="ctr" fontAlgn="ctr">
              <a:spcBef>
                <a:spcPts val="0"/>
              </a:spcBef>
              <a:buNone/>
              <a:defRPr sz="1300"/>
            </a:lvl1pPr>
          </a:lstStyle>
          <a:p>
            <a:r>
              <a:rPr lang="en-US" noProof="0"/>
              <a:t>Click on the icon to add a print screen </a:t>
            </a:r>
            <a:br>
              <a:rPr lang="en-US" noProof="0"/>
            </a:br>
            <a:r>
              <a:rPr lang="en-US" noProof="0"/>
              <a:t>or image</a:t>
            </a:r>
          </a:p>
        </p:txBody>
      </p:sp>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3" name="Text Placeholder 18">
            <a:extLst>
              <a:ext uri="{FF2B5EF4-FFF2-40B4-BE49-F238E27FC236}">
                <a16:creationId xmlns:a16="http://schemas.microsoft.com/office/drawing/2014/main" id="{96B2358A-BB39-7B47-9534-6E6E079F5E39}"/>
              </a:ext>
            </a:extLst>
          </p:cNvPr>
          <p:cNvSpPr>
            <a:spLocks noGrp="1"/>
          </p:cNvSpPr>
          <p:nvPr>
            <p:ph type="body" sz="quarter" idx="14" hasCustomPrompt="1"/>
          </p:nvPr>
        </p:nvSpPr>
        <p:spPr>
          <a:xfrm>
            <a:off x="575999" y="731027"/>
            <a:ext cx="5377125" cy="1365942"/>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hree lines</a:t>
            </a:r>
          </a:p>
        </p:txBody>
      </p:sp>
      <p:sp>
        <p:nvSpPr>
          <p:cNvPr id="25" name="Platshållare för text 11">
            <a:extLst>
              <a:ext uri="{FF2B5EF4-FFF2-40B4-BE49-F238E27FC236}">
                <a16:creationId xmlns:a16="http://schemas.microsoft.com/office/drawing/2014/main" id="{15044A8B-EC3C-AC48-809D-139C48BB0CB9}"/>
              </a:ext>
            </a:extLst>
          </p:cNvPr>
          <p:cNvSpPr>
            <a:spLocks noGrp="1"/>
          </p:cNvSpPr>
          <p:nvPr>
            <p:ph type="body" sz="quarter" idx="21"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6" name="Platshållare för datum 3">
            <a:extLst>
              <a:ext uri="{FF2B5EF4-FFF2-40B4-BE49-F238E27FC236}">
                <a16:creationId xmlns:a16="http://schemas.microsoft.com/office/drawing/2014/main" id="{FE602DED-DAC5-024B-AE88-9935B5D11D37}"/>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D3650215-BE92-4E2C-9121-BCCE593EBE0F}" type="datetime1">
              <a:rPr lang="en-US" noProof="0" smtClean="0"/>
              <a:t>11/1/2023</a:t>
            </a:fld>
            <a:endParaRPr lang="en-US" noProof="0"/>
          </a:p>
        </p:txBody>
      </p:sp>
      <p:sp>
        <p:nvSpPr>
          <p:cNvPr id="27" name="Platshållare för sidfot 4">
            <a:extLst>
              <a:ext uri="{FF2B5EF4-FFF2-40B4-BE49-F238E27FC236}">
                <a16:creationId xmlns:a16="http://schemas.microsoft.com/office/drawing/2014/main" id="{71479E35-8226-3343-A824-A028DAAD3AC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8" name="Platshållare för bildnummer 5">
            <a:extLst>
              <a:ext uri="{FF2B5EF4-FFF2-40B4-BE49-F238E27FC236}">
                <a16:creationId xmlns:a16="http://schemas.microsoft.com/office/drawing/2014/main" id="{F42DCEB3-A3C8-3E41-AC6B-EF5005843077}"/>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0601141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Title Start Blue">
    <p:bg>
      <p:bgRef idx="1001">
        <a:schemeClr val="bg2"/>
      </p:bgRef>
    </p:bg>
    <p:spTree>
      <p:nvGrpSpPr>
        <p:cNvPr id="1" name=""/>
        <p:cNvGrpSpPr/>
        <p:nvPr/>
      </p:nvGrpSpPr>
      <p:grpSpPr>
        <a:xfrm>
          <a:off x="0" y="0"/>
          <a:ext cx="0" cy="0"/>
          <a:chOff x="0" y="0"/>
          <a:chExt cx="0" cy="0"/>
        </a:xfrm>
      </p:grpSpPr>
      <p:grpSp>
        <p:nvGrpSpPr>
          <p:cNvPr id="8" name="Grupp 12">
            <a:extLst>
              <a:ext uri="{FF2B5EF4-FFF2-40B4-BE49-F238E27FC236}">
                <a16:creationId xmlns:a16="http://schemas.microsoft.com/office/drawing/2014/main" id="{020B7E71-8C9B-5242-B01F-6CA360F416B2}"/>
              </a:ext>
            </a:extLst>
          </p:cNvPr>
          <p:cNvGrpSpPr/>
          <p:nvPr userDrawn="1"/>
        </p:nvGrpSpPr>
        <p:grpSpPr>
          <a:xfrm>
            <a:off x="576139" y="356679"/>
            <a:ext cx="1060123" cy="157076"/>
            <a:chOff x="576140" y="6451484"/>
            <a:chExt cx="615478" cy="91194"/>
          </a:xfrm>
          <a:solidFill>
            <a:schemeClr val="tx1"/>
          </a:solidFill>
        </p:grpSpPr>
        <p:sp>
          <p:nvSpPr>
            <p:cNvPr id="9" name="Bild 2">
              <a:extLst>
                <a:ext uri="{FF2B5EF4-FFF2-40B4-BE49-F238E27FC236}">
                  <a16:creationId xmlns:a16="http://schemas.microsoft.com/office/drawing/2014/main" id="{6318E37B-AA14-0649-9DA7-69211BFB17CA}"/>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10" name="Bild 2">
              <a:extLst>
                <a:ext uri="{FF2B5EF4-FFF2-40B4-BE49-F238E27FC236}">
                  <a16:creationId xmlns:a16="http://schemas.microsoft.com/office/drawing/2014/main" id="{32E1F09D-ED0C-DE46-9B1B-B9E26DF0BD3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11" name="Bild 2">
              <a:extLst>
                <a:ext uri="{FF2B5EF4-FFF2-40B4-BE49-F238E27FC236}">
                  <a16:creationId xmlns:a16="http://schemas.microsoft.com/office/drawing/2014/main" id="{3CA8F4F3-6275-ED44-8BB0-3552187481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12" name="Bild 2">
              <a:extLst>
                <a:ext uri="{FF2B5EF4-FFF2-40B4-BE49-F238E27FC236}">
                  <a16:creationId xmlns:a16="http://schemas.microsoft.com/office/drawing/2014/main" id="{9CDD8FD0-0EEC-FF4A-887F-3DDDEE806432}"/>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13" name="Bild 2">
              <a:extLst>
                <a:ext uri="{FF2B5EF4-FFF2-40B4-BE49-F238E27FC236}">
                  <a16:creationId xmlns:a16="http://schemas.microsoft.com/office/drawing/2014/main" id="{6CFB5C2E-2D79-B54B-B355-1FAC5B95A304}"/>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14" name="Bild 2">
              <a:extLst>
                <a:ext uri="{FF2B5EF4-FFF2-40B4-BE49-F238E27FC236}">
                  <a16:creationId xmlns:a16="http://schemas.microsoft.com/office/drawing/2014/main" id="{A94DC018-4855-8D4B-9A15-FEB331F2E3F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15" name="Bild 2">
              <a:extLst>
                <a:ext uri="{FF2B5EF4-FFF2-40B4-BE49-F238E27FC236}">
                  <a16:creationId xmlns:a16="http://schemas.microsoft.com/office/drawing/2014/main" id="{8C343B86-2555-6D48-AE8D-2ACDF160AD2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
        <p:nvSpPr>
          <p:cNvPr id="16" name="Text Placeholder 18">
            <a:extLst>
              <a:ext uri="{FF2B5EF4-FFF2-40B4-BE49-F238E27FC236}">
                <a16:creationId xmlns:a16="http://schemas.microsoft.com/office/drawing/2014/main" id="{F7778766-F776-2644-80BC-C322DB5143E5}"/>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tx1"/>
                </a:solidFill>
                <a:latin typeface="+mj-lt"/>
              </a:defRPr>
            </a:lvl1pPr>
          </a:lstStyle>
          <a:p>
            <a:pPr lvl="0"/>
            <a:r>
              <a:rPr lang="en-US" noProof="0" dirty="0"/>
              <a:t>Click to add a headline </a:t>
            </a:r>
            <a:br>
              <a:rPr lang="en-US" noProof="0" dirty="0"/>
            </a:br>
            <a:r>
              <a:rPr lang="en-US" noProof="0" dirty="0"/>
              <a:t>of maximum two lines</a:t>
            </a:r>
          </a:p>
        </p:txBody>
      </p:sp>
      <p:sp>
        <p:nvSpPr>
          <p:cNvPr id="17" name="Text Placeholder 18">
            <a:extLst>
              <a:ext uri="{FF2B5EF4-FFF2-40B4-BE49-F238E27FC236}">
                <a16:creationId xmlns:a16="http://schemas.microsoft.com/office/drawing/2014/main" id="{5CE2C598-208E-6443-A5A6-FF5E07D00E14}"/>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tx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18" name="Platshållare för datum 3">
            <a:extLst>
              <a:ext uri="{FF2B5EF4-FFF2-40B4-BE49-F238E27FC236}">
                <a16:creationId xmlns:a16="http://schemas.microsoft.com/office/drawing/2014/main" id="{BB35720B-17F2-F047-AD03-59887AF1CFC0}"/>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1"/>
                </a:solidFill>
              </a:defRPr>
            </a:lvl1pPr>
          </a:lstStyle>
          <a:p>
            <a:fld id="{83A9E39F-191E-4D32-BA74-BF2AEB50C87E}" type="datetime1">
              <a:rPr lang="en-US" smtClean="0"/>
              <a:t>11/1/2023</a:t>
            </a:fld>
            <a:endParaRPr lang="en-US"/>
          </a:p>
        </p:txBody>
      </p:sp>
      <p:sp>
        <p:nvSpPr>
          <p:cNvPr id="19" name="Platshållare för sidfot 4">
            <a:extLst>
              <a:ext uri="{FF2B5EF4-FFF2-40B4-BE49-F238E27FC236}">
                <a16:creationId xmlns:a16="http://schemas.microsoft.com/office/drawing/2014/main" id="{AD7CD38D-F54E-8C40-8506-2A3C4C315939}"/>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en-US"/>
              <a:t>Go to header/footer to change text </a:t>
            </a:r>
          </a:p>
        </p:txBody>
      </p:sp>
      <p:sp>
        <p:nvSpPr>
          <p:cNvPr id="20" name="Platshållare för bildnummer 5">
            <a:extLst>
              <a:ext uri="{FF2B5EF4-FFF2-40B4-BE49-F238E27FC236}">
                <a16:creationId xmlns:a16="http://schemas.microsoft.com/office/drawing/2014/main" id="{78EFAF87-EB3E-9448-9EB2-F1FA0DB51245}"/>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4012258951"/>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 End/Thank You Blue with image">
    <p:bg>
      <p:bgPr>
        <a:solidFill>
          <a:schemeClr val="tx2"/>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accent1"/>
                </a:solidFill>
              </a:defRPr>
            </a:lvl1pPr>
          </a:lstStyle>
          <a:p>
            <a:r>
              <a:rPr lang="en-US" noProof="0"/>
              <a:t>Click on the icon to add an image</a:t>
            </a:r>
          </a:p>
        </p:txBody>
      </p:sp>
      <p:sp>
        <p:nvSpPr>
          <p:cNvPr id="25" name="Text Placeholder 7">
            <a:extLst>
              <a:ext uri="{FF2B5EF4-FFF2-40B4-BE49-F238E27FC236}">
                <a16:creationId xmlns:a16="http://schemas.microsoft.com/office/drawing/2014/main" id="{67488718-642D-1C4A-B768-5243ECAAFF54}"/>
              </a:ext>
            </a:extLst>
          </p:cNvPr>
          <p:cNvSpPr>
            <a:spLocks noGrp="1"/>
          </p:cNvSpPr>
          <p:nvPr>
            <p:ph type="body" sz="quarter" idx="38" hasCustomPrompt="1"/>
          </p:nvPr>
        </p:nvSpPr>
        <p:spPr>
          <a:xfrm>
            <a:off x="583093" y="720724"/>
            <a:ext cx="5370031" cy="2600325"/>
          </a:xfrm>
        </p:spPr>
        <p:txBody>
          <a:bodyPr/>
          <a:lstStyle>
            <a:lvl1pPr marL="0" indent="0" algn="l">
              <a:lnSpc>
                <a:spcPct val="100000"/>
              </a:lnSpc>
              <a:spcBef>
                <a:spcPts val="0"/>
              </a:spcBef>
              <a:spcAft>
                <a:spcPts val="850"/>
              </a:spcAft>
              <a:buNone/>
              <a:defRPr sz="3600" b="0" spc="40" baseline="0">
                <a:solidFill>
                  <a:schemeClr val="accent1"/>
                </a:solidFill>
                <a:latin typeface="+mj-lt"/>
              </a:defRPr>
            </a:lvl1pPr>
            <a:lvl2pPr marL="0" indent="0" algn="l">
              <a:lnSpc>
                <a:spcPct val="100000"/>
              </a:lnSpc>
              <a:spcBef>
                <a:spcPts val="0"/>
              </a:spcBef>
              <a:spcAft>
                <a:spcPts val="600"/>
              </a:spcAft>
              <a:buNone/>
              <a:defRPr sz="14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a:t>Click to add text</a:t>
            </a:r>
          </a:p>
          <a:p>
            <a:pPr lvl="1"/>
            <a:r>
              <a:rPr lang="en-US" noProof="0" dirty="0"/>
              <a:t>Second level</a:t>
            </a:r>
          </a:p>
        </p:txBody>
      </p:sp>
      <p:sp>
        <p:nvSpPr>
          <p:cNvPr id="8" name="textruta 5">
            <a:extLst>
              <a:ext uri="{FF2B5EF4-FFF2-40B4-BE49-F238E27FC236}">
                <a16:creationId xmlns:a16="http://schemas.microsoft.com/office/drawing/2014/main" id="{9CA758BD-5C55-6540-BFC0-18BA5E290BA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6D03EBC-FF28-B246-9262-70768DB96EB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4C4F2B59-2BF8-804B-B8CA-05F71E9FA5C2}"/>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483A10B1-05B8-D24F-9FD4-3E109436BA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567CC080-E0B4-6645-B343-8E58FF0C1643}"/>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359C9406-E00B-424F-B110-6C1F4D8428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5C256491-67DF-A248-A90E-627FCDF80B83}"/>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5D4FBB2B-EA79-FE42-A088-3353E1F76FB1}"/>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76ED9D30-AAB7-914D-BF46-71D0253AA98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3CC7F375-C97D-467D-8781-9F705DC465F5}" type="datetime1">
              <a:rPr lang="en-US" noProof="0" smtClean="0"/>
              <a:t>11/1/2023</a:t>
            </a:fld>
            <a:endParaRPr lang="en-US" noProof="0"/>
          </a:p>
        </p:txBody>
      </p:sp>
      <p:sp>
        <p:nvSpPr>
          <p:cNvPr id="18" name="Platshållare för sidfot 4">
            <a:extLst>
              <a:ext uri="{FF2B5EF4-FFF2-40B4-BE49-F238E27FC236}">
                <a16:creationId xmlns:a16="http://schemas.microsoft.com/office/drawing/2014/main" id="{8418F8E0-C9D2-2F42-879F-7EE25151703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9" name="Platshållare för bildnummer 5">
            <a:extLst>
              <a:ext uri="{FF2B5EF4-FFF2-40B4-BE49-F238E27FC236}">
                <a16:creationId xmlns:a16="http://schemas.microsoft.com/office/drawing/2014/main" id="{309D3567-1851-1C48-B7BA-4F5DC681934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1" name="Text Placeholder 4">
            <a:extLst>
              <a:ext uri="{FF2B5EF4-FFF2-40B4-BE49-F238E27FC236}">
                <a16:creationId xmlns:a16="http://schemas.microsoft.com/office/drawing/2014/main" id="{5CE675EA-9466-B54F-B83A-BE1E916021C6}"/>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9784489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 End Slide/Thank You White with imag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bg1"/>
                </a:solidFill>
                <a:latin typeface="+mj-lt"/>
              </a:defRPr>
            </a:lvl1pPr>
            <a:lvl2pPr marL="0" indent="0" algn="l">
              <a:lnSpc>
                <a:spcPct val="100000"/>
              </a:lnSpc>
              <a:spcBef>
                <a:spcPts val="0"/>
              </a:spcBef>
              <a:spcAft>
                <a:spcPts val="600"/>
              </a:spcAft>
              <a:buNone/>
              <a:defRPr sz="14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a:t>Click to add text</a:t>
            </a:r>
          </a:p>
          <a:p>
            <a:pPr lvl="1"/>
            <a:r>
              <a:rPr lang="en-US" noProof="0" dirty="0"/>
              <a:t>Second level</a:t>
            </a:r>
          </a:p>
        </p:txBody>
      </p:sp>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18F62CC-60C1-DB42-9742-4AF36630341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73C348B4-C0EC-824B-814E-D42C562CBFA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1C4A7DAB-0DBB-E649-8262-BE0207487BE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DB686218-5BA2-074C-8852-556179CA2F3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518D3605-1F40-43A4-AFA3-3C9C2E0F122F}" type="datetime1">
              <a:rPr lang="en-US" smtClean="0"/>
              <a:t>11/1/2023</a:t>
            </a:fld>
            <a:endParaRPr lang="en-US"/>
          </a:p>
        </p:txBody>
      </p:sp>
      <p:sp>
        <p:nvSpPr>
          <p:cNvPr id="18" name="Platshållare för sidfot 4">
            <a:extLst>
              <a:ext uri="{FF2B5EF4-FFF2-40B4-BE49-F238E27FC236}">
                <a16:creationId xmlns:a16="http://schemas.microsoft.com/office/drawing/2014/main" id="{F485D0B6-C708-9447-968B-34EBBA598FB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9" name="Platshållare för bildnummer 5">
            <a:extLst>
              <a:ext uri="{FF2B5EF4-FFF2-40B4-BE49-F238E27FC236}">
                <a16:creationId xmlns:a16="http://schemas.microsoft.com/office/drawing/2014/main" id="{A18FEC4E-44A5-4B4E-BF3B-9186328914D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D6DA0946-B5AD-DD46-98ED-3ADBD06FF55C}"/>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8511426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 End Slide/Thank You Blue">
    <p:bg>
      <p:bgRef idx="1001">
        <a:schemeClr val="bg2"/>
      </p:bgRef>
    </p:bg>
    <p:spTree>
      <p:nvGrpSpPr>
        <p:cNvPr id="1" name=""/>
        <p:cNvGrpSpPr/>
        <p:nvPr/>
      </p:nvGrpSpPr>
      <p:grpSpPr>
        <a:xfrm>
          <a:off x="0" y="0"/>
          <a:ext cx="0" cy="0"/>
          <a:chOff x="0" y="0"/>
          <a:chExt cx="0" cy="0"/>
        </a:xfrm>
      </p:grpSpPr>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tx2"/>
                </a:solidFill>
                <a:latin typeface="+mj-lt"/>
              </a:defRPr>
            </a:lvl1pPr>
            <a:lvl2pPr marL="0" indent="0" algn="l">
              <a:lnSpc>
                <a:spcPct val="100000"/>
              </a:lnSpc>
              <a:spcBef>
                <a:spcPts val="0"/>
              </a:spcBef>
              <a:spcAft>
                <a:spcPts val="600"/>
              </a:spcAft>
              <a:buNone/>
              <a:defRPr sz="1400" spc="40" baseline="0">
                <a:solidFill>
                  <a:schemeClr val="tx2"/>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a:t>Click to add text</a:t>
            </a:r>
          </a:p>
          <a:p>
            <a:pPr lvl="1"/>
            <a:r>
              <a:rPr lang="en-US" noProof="0" dirty="0"/>
              <a:t>Second level</a:t>
            </a:r>
          </a:p>
        </p:txBody>
      </p:sp>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tx1"/>
          </a:solidFill>
          <a:effectLst/>
        </p:spPr>
        <p:txBody>
          <a:bodyPr wrap="square" rtlCol="0" anchor="ctr" anchorCtr="0">
            <a:spAutoFit/>
          </a:bodyPr>
          <a:lstStyle/>
          <a:p>
            <a:pPr algn="ct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right click the image </a:t>
            </a: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and use – </a:t>
            </a:r>
            <a:r>
              <a:rPr lang="en-US" sz="900" b="1" noProof="0" dirty="0">
                <a:solidFill>
                  <a:schemeClr val="bg1">
                    <a:lumMod val="65000"/>
                    <a:lumOff val="35000"/>
                  </a:schemeClr>
                </a:solidFill>
                <a:latin typeface="Arial" panose="020B0604020202020204" pitchFamily="34" charset="0"/>
                <a:cs typeface="Arial" panose="020B0604020202020204" pitchFamily="34" charset="0"/>
              </a:rPr>
              <a:t>S</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end to back</a:t>
            </a:r>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mn-lt"/>
                <a:cs typeface="Arial" panose="020B0604020202020204" pitchFamily="34" charset="0"/>
              </a:rPr>
              <a:t>To change from </a:t>
            </a:r>
            <a:r>
              <a:rPr lang="en-US" sz="900" b="1" baseline="0" noProof="0">
                <a:solidFill>
                  <a:schemeClr val="bg1">
                    <a:lumMod val="65000"/>
                    <a:lumOff val="35000"/>
                  </a:schemeClr>
                </a:solidFill>
                <a:latin typeface="+mn-lt"/>
                <a:cs typeface="Arial" panose="020B0604020202020204" pitchFamily="34" charset="0"/>
              </a:rPr>
              <a:t>headline</a:t>
            </a:r>
            <a:r>
              <a:rPr lang="en-US" sz="900" baseline="0" noProof="0">
                <a:solidFill>
                  <a:schemeClr val="bg1">
                    <a:lumMod val="65000"/>
                    <a:lumOff val="35000"/>
                  </a:schemeClr>
                </a:solidFill>
                <a:latin typeface="+mn-lt"/>
                <a:cs typeface="Arial" panose="020B0604020202020204" pitchFamily="34" charset="0"/>
              </a:rPr>
              <a:t> to </a:t>
            </a:r>
            <a:r>
              <a:rPr lang="en-US" sz="900" b="1" baseline="0" noProof="0">
                <a:solidFill>
                  <a:schemeClr val="bg1">
                    <a:lumMod val="65000"/>
                    <a:lumOff val="35000"/>
                  </a:schemeClr>
                </a:solidFill>
                <a:latin typeface="+mn-lt"/>
                <a:cs typeface="Arial" panose="020B0604020202020204" pitchFamily="34" charset="0"/>
              </a:rPr>
              <a:t>body text </a:t>
            </a:r>
            <a:r>
              <a:rPr lang="en-US" sz="900" baseline="0" noProof="0">
                <a:solidFill>
                  <a:schemeClr val="bg1">
                    <a:lumMod val="65000"/>
                    <a:lumOff val="35000"/>
                  </a:schemeClr>
                </a:solidFill>
                <a:latin typeface="+mn-lt"/>
                <a:cs typeface="Arial" panose="020B0604020202020204" pitchFamily="34" charset="0"/>
              </a:rPr>
              <a:t>or to </a:t>
            </a:r>
            <a:r>
              <a:rPr lang="en-US" sz="900" b="1" baseline="0" noProof="0">
                <a:solidFill>
                  <a:schemeClr val="bg1">
                    <a:lumMod val="65000"/>
                    <a:lumOff val="35000"/>
                  </a:schemeClr>
                </a:solidFill>
                <a:latin typeface="+mn-lt"/>
                <a:cs typeface="Arial" panose="020B0604020202020204" pitchFamily="34" charset="0"/>
              </a:rPr>
              <a:t>use bullets</a:t>
            </a:r>
            <a:r>
              <a:rPr lang="en-US" sz="900" baseline="0" noProof="0">
                <a:solidFill>
                  <a:schemeClr val="bg1">
                    <a:lumMod val="65000"/>
                    <a:lumOff val="35000"/>
                  </a:schemeClr>
                </a:solidFill>
                <a:latin typeface="+mn-lt"/>
                <a:cs typeface="Arial" panose="020B0604020202020204" pitchFamily="34" charset="0"/>
              </a:rPr>
              <a:t>, press </a:t>
            </a:r>
            <a:r>
              <a:rPr lang="en-US" sz="900" b="1" baseline="0" noProof="0">
                <a:solidFill>
                  <a:schemeClr val="bg1">
                    <a:lumMod val="65000"/>
                    <a:lumOff val="35000"/>
                  </a:schemeClr>
                </a:solidFill>
                <a:latin typeface="+mn-lt"/>
                <a:cs typeface="Arial" panose="020B0604020202020204" pitchFamily="34" charset="0"/>
              </a:rPr>
              <a:t>enter/return </a:t>
            </a:r>
            <a:r>
              <a:rPr lang="en-US" sz="900" baseline="0" noProof="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tx1">
              <a:alpha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DB686218-5BA2-074C-8852-556179CA2F3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15964ADA-473F-4737-865C-8F95E7AD1502}" type="datetime1">
              <a:rPr lang="en-US" smtClean="0"/>
              <a:t>11/1/2023</a:t>
            </a:fld>
            <a:endParaRPr lang="en-US"/>
          </a:p>
        </p:txBody>
      </p:sp>
      <p:sp>
        <p:nvSpPr>
          <p:cNvPr id="18" name="Platshållare för sidfot 4">
            <a:extLst>
              <a:ext uri="{FF2B5EF4-FFF2-40B4-BE49-F238E27FC236}">
                <a16:creationId xmlns:a16="http://schemas.microsoft.com/office/drawing/2014/main" id="{F485D0B6-C708-9447-968B-34EBBA598FB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a:t>Go to header/footer to change text </a:t>
            </a:r>
          </a:p>
        </p:txBody>
      </p:sp>
      <p:sp>
        <p:nvSpPr>
          <p:cNvPr id="19" name="Platshållare för bildnummer 5">
            <a:extLst>
              <a:ext uri="{FF2B5EF4-FFF2-40B4-BE49-F238E27FC236}">
                <a16:creationId xmlns:a16="http://schemas.microsoft.com/office/drawing/2014/main" id="{A18FEC4E-44A5-4B4E-BF3B-9186328914D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CFC8A43B-484E-A94E-9544-5A96E2FEB4A4}"/>
              </a:ext>
            </a:extLst>
          </p:cNvPr>
          <p:cNvGrpSpPr/>
          <p:nvPr userDrawn="1"/>
        </p:nvGrpSpPr>
        <p:grpSpPr>
          <a:xfrm>
            <a:off x="576140" y="6451484"/>
            <a:ext cx="615478" cy="91194"/>
            <a:chOff x="576140" y="6451484"/>
            <a:chExt cx="615478" cy="91194"/>
          </a:xfrm>
          <a:solidFill>
            <a:schemeClr val="tx2"/>
          </a:solidFill>
        </p:grpSpPr>
        <p:sp>
          <p:nvSpPr>
            <p:cNvPr id="21" name="Bild 2">
              <a:extLst>
                <a:ext uri="{FF2B5EF4-FFF2-40B4-BE49-F238E27FC236}">
                  <a16:creationId xmlns:a16="http://schemas.microsoft.com/office/drawing/2014/main" id="{0AAD7857-21BA-694B-B84E-7D080B22FC74}"/>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73B93E14-2F87-7D42-8BB1-B9DD59BBD50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600A5E65-99E7-BD4F-8FD1-B0EFD7452D6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D03BC607-5564-3C4E-AC15-742D3ACD7C9E}"/>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633F7CBD-CC18-6A47-B3B0-598CDBC284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BCA836F9-B72E-2745-9780-17AA47E3005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7938F737-3045-BF42-89CB-6017E871B957}"/>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8" name="textruta 8">
            <a:extLst>
              <a:ext uri="{FF2B5EF4-FFF2-40B4-BE49-F238E27FC236}">
                <a16:creationId xmlns:a16="http://schemas.microsoft.com/office/drawing/2014/main" id="{0338DCA8-C782-6D42-9BF4-CBF52D1BCEE7}"/>
              </a:ext>
            </a:extLst>
          </p:cNvPr>
          <p:cNvSpPr txBox="1"/>
          <p:nvPr userDrawn="1"/>
        </p:nvSpPr>
        <p:spPr>
          <a:xfrm>
            <a:off x="12395260" y="-12189"/>
            <a:ext cx="1681523" cy="1338828"/>
          </a:xfrm>
          <a:prstGeom prst="rect">
            <a:avLst/>
          </a:prstGeom>
          <a:solidFill>
            <a:schemeClr val="tx1"/>
          </a:solidFill>
          <a:effectLst/>
        </p:spPr>
        <p:txBody>
          <a:bodyPr wrap="square" rtlCol="0" anchor="ctr" anchorCtr="0">
            <a:spAutoFit/>
          </a:bodyPr>
          <a:lstStyle/>
          <a:p>
            <a:pPr algn="ct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Format Background </a:t>
            </a: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Solid fill</a:t>
            </a:r>
            <a:r>
              <a:rPr lang="en-US" sz="900" baseline="0" noProof="0" dirty="0">
                <a:solidFill>
                  <a:schemeClr val="bg1">
                    <a:lumMod val="65000"/>
                    <a:lumOff val="35000"/>
                  </a:schemeClr>
                </a:solidFill>
                <a:latin typeface="Arial" panose="020B0604020202020204" pitchFamily="34" charset="0"/>
                <a:cs typeface="Arial" panose="020B0604020202020204" pitchFamily="34" charset="0"/>
              </a:rPr>
              <a:t> – </a:t>
            </a:r>
            <a:r>
              <a:rPr lang="en-US" sz="900" b="1" baseline="0" noProof="0" dirty="0">
                <a:solidFill>
                  <a:schemeClr val="bg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dirty="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dirty="0">
              <a:solidFill>
                <a:schemeClr val="bg1">
                  <a:lumMod val="65000"/>
                  <a:lumOff val="35000"/>
                </a:schemeClr>
              </a:solidFill>
              <a:latin typeface="Arial" panose="020B0604020202020204" pitchFamily="34" charset="0"/>
              <a:cs typeface="Arial" panose="020B0604020202020204" pitchFamily="34" charset="0"/>
            </a:endParaRPr>
          </a:p>
        </p:txBody>
      </p:sp>
      <p:sp>
        <p:nvSpPr>
          <p:cNvPr id="30" name="Rektangel 9">
            <a:extLst>
              <a:ext uri="{FF2B5EF4-FFF2-40B4-BE49-F238E27FC236}">
                <a16:creationId xmlns:a16="http://schemas.microsoft.com/office/drawing/2014/main" id="{2A15AE09-029B-ED44-BCEC-8A8EFAF4CC2B}"/>
              </a:ext>
            </a:extLst>
          </p:cNvPr>
          <p:cNvSpPr/>
          <p:nvPr userDrawn="1"/>
        </p:nvSpPr>
        <p:spPr>
          <a:xfrm>
            <a:off x="13255337" y="926211"/>
            <a:ext cx="341194" cy="305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ktangel 10">
            <a:extLst>
              <a:ext uri="{FF2B5EF4-FFF2-40B4-BE49-F238E27FC236}">
                <a16:creationId xmlns:a16="http://schemas.microsoft.com/office/drawing/2014/main" id="{2C397BC2-B2B9-4545-95E8-9BBBF581099C}"/>
              </a:ext>
            </a:extLst>
          </p:cNvPr>
          <p:cNvSpPr/>
          <p:nvPr userDrawn="1"/>
        </p:nvSpPr>
        <p:spPr>
          <a:xfrm>
            <a:off x="12833410" y="926211"/>
            <a:ext cx="341194" cy="305904"/>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3189908786"/>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End Slide/Thank You Gray">
    <p:bg>
      <p:bgRef idx="1001">
        <a:schemeClr val="bg2"/>
      </p:bgRef>
    </p:bg>
    <p:spTree>
      <p:nvGrpSpPr>
        <p:cNvPr id="1" name=""/>
        <p:cNvGrpSpPr/>
        <p:nvPr/>
      </p:nvGrpSpPr>
      <p:grpSpPr>
        <a:xfrm>
          <a:off x="0" y="0"/>
          <a:ext cx="0" cy="0"/>
          <a:chOff x="0" y="0"/>
          <a:chExt cx="0" cy="0"/>
        </a:xfrm>
      </p:grpSpPr>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tx2"/>
                </a:solidFill>
                <a:latin typeface="+mj-lt"/>
              </a:defRPr>
            </a:lvl1pPr>
            <a:lvl2pPr marL="0" indent="0" algn="l">
              <a:lnSpc>
                <a:spcPct val="100000"/>
              </a:lnSpc>
              <a:spcBef>
                <a:spcPts val="0"/>
              </a:spcBef>
              <a:spcAft>
                <a:spcPts val="600"/>
              </a:spcAft>
              <a:buNone/>
              <a:defRPr sz="1400" spc="40" baseline="0">
                <a:solidFill>
                  <a:schemeClr val="tx2"/>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dirty="0"/>
              <a:t>Click to add text</a:t>
            </a:r>
          </a:p>
          <a:p>
            <a:pPr lvl="1"/>
            <a:r>
              <a:rPr lang="en-US" noProof="0" dirty="0"/>
              <a:t>Second level</a:t>
            </a:r>
          </a:p>
        </p:txBody>
      </p:sp>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18F62CC-60C1-DB42-9742-4AF36630341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73C348B4-C0EC-824B-814E-D42C562CBFA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1C4A7DAB-0DBB-E649-8262-BE0207487BE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DB686218-5BA2-074C-8852-556179CA2F3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7541B925-C2F0-49D2-B8DA-A293DFD6F880}" type="datetime1">
              <a:rPr lang="en-US" smtClean="0"/>
              <a:t>11/1/2023</a:t>
            </a:fld>
            <a:endParaRPr lang="en-US"/>
          </a:p>
        </p:txBody>
      </p:sp>
      <p:sp>
        <p:nvSpPr>
          <p:cNvPr id="18" name="Platshållare för sidfot 4">
            <a:extLst>
              <a:ext uri="{FF2B5EF4-FFF2-40B4-BE49-F238E27FC236}">
                <a16:creationId xmlns:a16="http://schemas.microsoft.com/office/drawing/2014/main" id="{F485D0B6-C708-9447-968B-34EBBA598FB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a:t>Go to header/footer to change text </a:t>
            </a:r>
          </a:p>
        </p:txBody>
      </p:sp>
      <p:sp>
        <p:nvSpPr>
          <p:cNvPr id="19" name="Platshållare för bildnummer 5">
            <a:extLst>
              <a:ext uri="{FF2B5EF4-FFF2-40B4-BE49-F238E27FC236}">
                <a16:creationId xmlns:a16="http://schemas.microsoft.com/office/drawing/2014/main" id="{A18FEC4E-44A5-4B4E-BF3B-9186328914D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CFC8A43B-484E-A94E-9544-5A96E2FEB4A4}"/>
              </a:ext>
            </a:extLst>
          </p:cNvPr>
          <p:cNvGrpSpPr/>
          <p:nvPr userDrawn="1"/>
        </p:nvGrpSpPr>
        <p:grpSpPr>
          <a:xfrm>
            <a:off x="576140" y="6451484"/>
            <a:ext cx="615478" cy="91194"/>
            <a:chOff x="576140" y="6451484"/>
            <a:chExt cx="615478" cy="91194"/>
          </a:xfrm>
          <a:solidFill>
            <a:schemeClr val="tx2"/>
          </a:solidFill>
        </p:grpSpPr>
        <p:sp>
          <p:nvSpPr>
            <p:cNvPr id="21" name="Bild 2">
              <a:extLst>
                <a:ext uri="{FF2B5EF4-FFF2-40B4-BE49-F238E27FC236}">
                  <a16:creationId xmlns:a16="http://schemas.microsoft.com/office/drawing/2014/main" id="{0AAD7857-21BA-694B-B84E-7D080B22FC74}"/>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73B93E14-2F87-7D42-8BB1-B9DD59BBD50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600A5E65-99E7-BD4F-8FD1-B0EFD7452D6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D03BC607-5564-3C4E-AC15-742D3ACD7C9E}"/>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633F7CBD-CC18-6A47-B3B0-598CDBC284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BCA836F9-B72E-2745-9780-17AA47E3005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7938F737-3045-BF42-89CB-6017E871B957}"/>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Tree>
    <p:extLst>
      <p:ext uri="{BB962C8B-B14F-4D97-AF65-F5344CB8AC3E}">
        <p14:creationId xmlns:p14="http://schemas.microsoft.com/office/powerpoint/2010/main" val="58335833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Platshållare för datum 3">
            <a:extLst>
              <a:ext uri="{FF2B5EF4-FFF2-40B4-BE49-F238E27FC236}">
                <a16:creationId xmlns:a16="http://schemas.microsoft.com/office/drawing/2014/main" id="{A74D829F-278E-A349-A2D6-131DE97D2A1D}"/>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BED2B4BB-A0D3-42F4-9371-B42491CF877F}" type="datetime1">
              <a:rPr lang="en-US" noProof="0" smtClean="0"/>
              <a:t>11/1/2023</a:t>
            </a:fld>
            <a:endParaRPr lang="en-US" noProof="0"/>
          </a:p>
        </p:txBody>
      </p:sp>
      <p:sp>
        <p:nvSpPr>
          <p:cNvPr id="6" name="Platshållare för sidfot 4">
            <a:extLst>
              <a:ext uri="{FF2B5EF4-FFF2-40B4-BE49-F238E27FC236}">
                <a16:creationId xmlns:a16="http://schemas.microsoft.com/office/drawing/2014/main" id="{1EDE4D0B-651F-4744-92FD-605540347A24}"/>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7" name="Platshållare för bildnummer 5">
            <a:extLst>
              <a:ext uri="{FF2B5EF4-FFF2-40B4-BE49-F238E27FC236}">
                <a16:creationId xmlns:a16="http://schemas.microsoft.com/office/drawing/2014/main" id="{0B0AB5DF-9F17-C94E-BC61-612FF860215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698329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1 Title Start Graphic/Image">
    <p:bg>
      <p:bgPr>
        <a:solidFill>
          <a:srgbClr val="ECECEC"/>
        </a:solidFill>
        <a:effectLst/>
      </p:bgPr>
    </p:bg>
    <p:spTree>
      <p:nvGrpSpPr>
        <p:cNvPr id="1" name=""/>
        <p:cNvGrpSpPr/>
        <p:nvPr/>
      </p:nvGrpSpPr>
      <p:grpSpPr>
        <a:xfrm>
          <a:off x="0" y="0"/>
          <a:ext cx="0" cy="0"/>
          <a:chOff x="0" y="0"/>
          <a:chExt cx="0" cy="0"/>
        </a:xfrm>
      </p:grpSpPr>
      <p:sp>
        <p:nvSpPr>
          <p:cNvPr id="50" name="Freeform 49">
            <a:extLst>
              <a:ext uri="{FF2B5EF4-FFF2-40B4-BE49-F238E27FC236}">
                <a16:creationId xmlns:a16="http://schemas.microsoft.com/office/drawing/2014/main" id="{54B4707F-73C2-CB4A-9E5B-1E50638807C5}"/>
              </a:ext>
            </a:extLst>
          </p:cNvPr>
          <p:cNvSpPr/>
          <p:nvPr userDrawn="1"/>
        </p:nvSpPr>
        <p:spPr>
          <a:xfrm>
            <a:off x="-22023" y="2084905"/>
            <a:ext cx="2667870" cy="4785659"/>
          </a:xfrm>
          <a:custGeom>
            <a:avLst/>
            <a:gdLst>
              <a:gd name="connsiteX0" fmla="*/ 0 w 2667870"/>
              <a:gd name="connsiteY0" fmla="*/ 1920505 h 4785659"/>
              <a:gd name="connsiteX1" fmla="*/ 40200 w 2667870"/>
              <a:gd name="connsiteY1" fmla="*/ 1924069 h 4785659"/>
              <a:gd name="connsiteX2" fmla="*/ 1360705 w 2667870"/>
              <a:gd name="connsiteY2" fmla="*/ 1924069 h 4785659"/>
              <a:gd name="connsiteX3" fmla="*/ 2667870 w 2667870"/>
              <a:gd name="connsiteY3" fmla="*/ 3337942 h 4785659"/>
              <a:gd name="connsiteX4" fmla="*/ 1785815 w 2667870"/>
              <a:gd name="connsiteY4" fmla="*/ 4750827 h 4785659"/>
              <a:gd name="connsiteX5" fmla="*/ 1666528 w 2667870"/>
              <a:gd name="connsiteY5" fmla="*/ 4785659 h 4785659"/>
              <a:gd name="connsiteX6" fmla="*/ 0 w 2667870"/>
              <a:gd name="connsiteY6" fmla="*/ 4785659 h 4785659"/>
              <a:gd name="connsiteX7" fmla="*/ 0 w 2667870"/>
              <a:gd name="connsiteY7" fmla="*/ 3788114 h 4785659"/>
              <a:gd name="connsiteX8" fmla="*/ 1187305 w 2667870"/>
              <a:gd name="connsiteY8" fmla="*/ 3788114 h 4785659"/>
              <a:gd name="connsiteX9" fmla="*/ 1624139 w 2667870"/>
              <a:gd name="connsiteY9" fmla="*/ 3337942 h 4785659"/>
              <a:gd name="connsiteX10" fmla="*/ 1187305 w 2667870"/>
              <a:gd name="connsiteY10" fmla="*/ 2887770 h 4785659"/>
              <a:gd name="connsiteX11" fmla="*/ 40200 w 2667870"/>
              <a:gd name="connsiteY11" fmla="*/ 2887770 h 4785659"/>
              <a:gd name="connsiteX12" fmla="*/ 0 w 2667870"/>
              <a:gd name="connsiteY12" fmla="*/ 2886307 h 4785659"/>
              <a:gd name="connsiteX13" fmla="*/ 274249 w 2667870"/>
              <a:gd name="connsiteY13" fmla="*/ 0 h 4785659"/>
              <a:gd name="connsiteX14" fmla="*/ 2331075 w 2667870"/>
              <a:gd name="connsiteY14" fmla="*/ 0 h 4785659"/>
              <a:gd name="connsiteX15" fmla="*/ 2331075 w 2667870"/>
              <a:gd name="connsiteY15" fmla="*/ 1023725 h 4785659"/>
              <a:gd name="connsiteX16" fmla="*/ 274249 w 2667870"/>
              <a:gd name="connsiteY16" fmla="*/ 1023725 h 478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7870" h="4785659">
                <a:moveTo>
                  <a:pt x="0" y="1920505"/>
                </a:moveTo>
                <a:lnTo>
                  <a:pt x="40200" y="1924069"/>
                </a:lnTo>
                <a:lnTo>
                  <a:pt x="1360705" y="1924069"/>
                </a:lnTo>
                <a:cubicBezTo>
                  <a:pt x="2100987" y="1924069"/>
                  <a:pt x="2667870" y="2450937"/>
                  <a:pt x="2667870" y="3337942"/>
                </a:cubicBezTo>
                <a:cubicBezTo>
                  <a:pt x="2667870" y="4075725"/>
                  <a:pt x="2348999" y="4556534"/>
                  <a:pt x="1785815" y="4750827"/>
                </a:cubicBezTo>
                <a:lnTo>
                  <a:pt x="1666528" y="4785659"/>
                </a:lnTo>
                <a:lnTo>
                  <a:pt x="0" y="4785659"/>
                </a:lnTo>
                <a:lnTo>
                  <a:pt x="0" y="3788114"/>
                </a:lnTo>
                <a:lnTo>
                  <a:pt x="1187305" y="3788114"/>
                </a:lnTo>
                <a:cubicBezTo>
                  <a:pt x="1477416" y="3788114"/>
                  <a:pt x="1624139" y="3574699"/>
                  <a:pt x="1624139" y="3337942"/>
                </a:cubicBezTo>
                <a:cubicBezTo>
                  <a:pt x="1624139" y="3107854"/>
                  <a:pt x="1477416" y="2887770"/>
                  <a:pt x="1187305" y="2887770"/>
                </a:cubicBezTo>
                <a:lnTo>
                  <a:pt x="40200" y="2887770"/>
                </a:lnTo>
                <a:lnTo>
                  <a:pt x="0" y="2886307"/>
                </a:lnTo>
                <a:close/>
                <a:moveTo>
                  <a:pt x="274249" y="0"/>
                </a:moveTo>
                <a:lnTo>
                  <a:pt x="2331075" y="0"/>
                </a:lnTo>
                <a:lnTo>
                  <a:pt x="2331075" y="1023725"/>
                </a:lnTo>
                <a:lnTo>
                  <a:pt x="274249" y="1023725"/>
                </a:lnTo>
                <a:close/>
              </a:path>
            </a:pathLst>
          </a:custGeom>
          <a:noFill/>
          <a:ln w="19050" cap="flat">
            <a:solidFill>
              <a:schemeClr val="accent1"/>
            </a:solidFill>
            <a:prstDash val="solid"/>
            <a:miter/>
          </a:ln>
        </p:spPr>
        <p:txBody>
          <a:bodyPr wrap="square" rtlCol="0" anchor="ctr">
            <a:noAutofit/>
          </a:bodyPr>
          <a:lstStyle/>
          <a:p>
            <a:endParaRPr lang="sv-SE"/>
          </a:p>
        </p:txBody>
      </p:sp>
      <p:sp>
        <p:nvSpPr>
          <p:cNvPr id="49" name="Freeform 48">
            <a:extLst>
              <a:ext uri="{FF2B5EF4-FFF2-40B4-BE49-F238E27FC236}">
                <a16:creationId xmlns:a16="http://schemas.microsoft.com/office/drawing/2014/main" id="{2B731617-8BB2-5747-A773-E97EF74DFA13}"/>
              </a:ext>
            </a:extLst>
          </p:cNvPr>
          <p:cNvSpPr/>
          <p:nvPr userDrawn="1"/>
        </p:nvSpPr>
        <p:spPr>
          <a:xfrm>
            <a:off x="3299432" y="2081570"/>
            <a:ext cx="4018203" cy="4788993"/>
          </a:xfrm>
          <a:custGeom>
            <a:avLst/>
            <a:gdLst>
              <a:gd name="connsiteX0" fmla="*/ 0 w 4018203"/>
              <a:gd name="connsiteY0" fmla="*/ 0 h 4788993"/>
              <a:gd name="connsiteX1" fmla="*/ 1117094 w 4018203"/>
              <a:gd name="connsiteY1" fmla="*/ 0 h 4788993"/>
              <a:gd name="connsiteX2" fmla="*/ 1117094 w 4018203"/>
              <a:gd name="connsiteY2" fmla="*/ 2047449 h 4788993"/>
              <a:gd name="connsiteX3" fmla="*/ 2711037 w 4018203"/>
              <a:gd name="connsiteY3" fmla="*/ 0 h 4788993"/>
              <a:gd name="connsiteX4" fmla="*/ 4018203 w 4018203"/>
              <a:gd name="connsiteY4" fmla="*/ 0 h 4788993"/>
              <a:gd name="connsiteX5" fmla="*/ 2180834 w 4018203"/>
              <a:gd name="connsiteY5" fmla="*/ 2427594 h 4788993"/>
              <a:gd name="connsiteX6" fmla="*/ 3970561 w 4018203"/>
              <a:gd name="connsiteY6" fmla="*/ 4788993 h 4788993"/>
              <a:gd name="connsiteX7" fmla="*/ 2662100 w 4018203"/>
              <a:gd name="connsiteY7" fmla="*/ 4788993 h 4788993"/>
              <a:gd name="connsiteX8" fmla="*/ 1117094 w 4018203"/>
              <a:gd name="connsiteY8" fmla="*/ 2804405 h 4788993"/>
              <a:gd name="connsiteX9" fmla="*/ 1117094 w 4018203"/>
              <a:gd name="connsiteY9" fmla="*/ 4788993 h 4788993"/>
              <a:gd name="connsiteX10" fmla="*/ 0 w 4018203"/>
              <a:gd name="connsiteY10" fmla="*/ 4788993 h 478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8203" h="4788993">
                <a:moveTo>
                  <a:pt x="0" y="0"/>
                </a:moveTo>
                <a:lnTo>
                  <a:pt x="1117094" y="0"/>
                </a:lnTo>
                <a:lnTo>
                  <a:pt x="1117094" y="2047449"/>
                </a:lnTo>
                <a:lnTo>
                  <a:pt x="2711037" y="0"/>
                </a:lnTo>
                <a:lnTo>
                  <a:pt x="4018203" y="0"/>
                </a:lnTo>
                <a:lnTo>
                  <a:pt x="2180834" y="2427594"/>
                </a:lnTo>
                <a:lnTo>
                  <a:pt x="3970561" y="4788993"/>
                </a:lnTo>
                <a:lnTo>
                  <a:pt x="2662100" y="4788993"/>
                </a:lnTo>
                <a:lnTo>
                  <a:pt x="1117094" y="2804405"/>
                </a:lnTo>
                <a:lnTo>
                  <a:pt x="1117094" y="4788993"/>
                </a:lnTo>
                <a:lnTo>
                  <a:pt x="0" y="4788993"/>
                </a:lnTo>
                <a:close/>
              </a:path>
            </a:pathLst>
          </a:custGeom>
          <a:noFill/>
          <a:ln w="19050" cap="flat">
            <a:solidFill>
              <a:schemeClr val="accent1"/>
            </a:solidFill>
            <a:prstDash val="solid"/>
            <a:miter/>
          </a:ln>
        </p:spPr>
        <p:txBody>
          <a:bodyPr wrap="square" rtlCol="0" anchor="ctr">
            <a:noAutofit/>
          </a:bodyPr>
          <a:lstStyle/>
          <a:p>
            <a:endParaRPr lang="sv-SE"/>
          </a:p>
        </p:txBody>
      </p:sp>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758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3" name="Rectangle 2">
            <a:extLst>
              <a:ext uri="{FF2B5EF4-FFF2-40B4-BE49-F238E27FC236}">
                <a16:creationId xmlns:a16="http://schemas.microsoft.com/office/drawing/2014/main" id="{7ABD8C07-48FE-CE42-BAC1-8E71230A09D6}"/>
              </a:ext>
            </a:extLst>
          </p:cNvPr>
          <p:cNvSpPr/>
          <p:nvPr userDrawn="1"/>
        </p:nvSpPr>
        <p:spPr>
          <a:xfrm>
            <a:off x="0" y="0"/>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3915" y="1022400"/>
            <a:ext cx="5367178" cy="1069200"/>
          </a:xfrm>
          <a:prstGeom prst="rect">
            <a:avLst/>
          </a:prstGeom>
        </p:spPr>
        <p:txBody>
          <a:bodyPr anchor="b">
            <a:normAutofit/>
          </a:bodyPr>
          <a:lstStyle>
            <a:lvl1pPr marL="0" indent="0">
              <a:lnSpc>
                <a:spcPct val="85000"/>
              </a:lnSpc>
              <a:spcBef>
                <a:spcPts val="0"/>
              </a:spcBef>
              <a:buNone/>
              <a:defRPr sz="3600" spc="40" baseline="0">
                <a:solidFill>
                  <a:schemeClr val="tx2"/>
                </a:solidFill>
              </a:defRPr>
            </a:lvl1pPr>
          </a:lstStyle>
          <a:p>
            <a:pPr lvl="0"/>
            <a:r>
              <a:rPr lang="en-GB"/>
              <a:t>Click to add a headline </a:t>
            </a:r>
            <a:br>
              <a:rPr lang="en-GB"/>
            </a:br>
            <a:r>
              <a:rPr lang="en-GB"/>
              <a:t>of maximum two lines</a:t>
            </a:r>
          </a:p>
        </p:txBody>
      </p:sp>
      <p:sp>
        <p:nvSpPr>
          <p:cNvPr id="20" name="Text Placeholder 18">
            <a:extLst>
              <a:ext uri="{FF2B5EF4-FFF2-40B4-BE49-F238E27FC236}">
                <a16:creationId xmlns:a16="http://schemas.microsoft.com/office/drawing/2014/main" id="{01A6A6FB-6FA2-F143-90DF-C849DA3D5701}"/>
              </a:ext>
            </a:extLst>
          </p:cNvPr>
          <p:cNvSpPr>
            <a:spLocks noGrp="1"/>
          </p:cNvSpPr>
          <p:nvPr>
            <p:ph type="body" sz="quarter" idx="15" hasCustomPrompt="1"/>
          </p:nvPr>
        </p:nvSpPr>
        <p:spPr>
          <a:xfrm>
            <a:off x="588222" y="2228854"/>
            <a:ext cx="3755854" cy="771519"/>
          </a:xfrm>
          <a:prstGeom prst="rect">
            <a:avLst/>
          </a:prstGeom>
        </p:spPr>
        <p:txBody>
          <a:bodyPr anchor="t">
            <a:normAutofit/>
          </a:bodyPr>
          <a:lstStyle>
            <a:lvl1pPr marL="0" indent="0">
              <a:lnSpc>
                <a:spcPct val="100000"/>
              </a:lnSpc>
              <a:spcBef>
                <a:spcPts val="0"/>
              </a:spcBef>
              <a:buNone/>
              <a:defRPr sz="1400" spc="70" baseline="0">
                <a:solidFill>
                  <a:schemeClr val="tx2"/>
                </a:solidFill>
              </a:defRPr>
            </a:lvl1pPr>
          </a:lstStyle>
          <a:p>
            <a:pPr lvl="0"/>
            <a:r>
              <a:rPr lang="en-GB"/>
              <a:t>Click to add name </a:t>
            </a:r>
            <a:br>
              <a:rPr lang="en-GB"/>
            </a:br>
            <a:r>
              <a:rPr lang="en-GB"/>
              <a:t>Title, Business Unit</a:t>
            </a:r>
          </a:p>
          <a:p>
            <a:pPr lvl="0"/>
            <a:r>
              <a:rPr lang="en-GB"/>
              <a:t>And Date</a:t>
            </a:r>
          </a:p>
        </p:txBody>
      </p:sp>
      <p:grpSp>
        <p:nvGrpSpPr>
          <p:cNvPr id="61" name="Grupp 12">
            <a:extLst>
              <a:ext uri="{FF2B5EF4-FFF2-40B4-BE49-F238E27FC236}">
                <a16:creationId xmlns:a16="http://schemas.microsoft.com/office/drawing/2014/main" id="{11C1EE99-A90A-8E42-9EF6-ABC92B42C61F}"/>
              </a:ext>
            </a:extLst>
          </p:cNvPr>
          <p:cNvGrpSpPr/>
          <p:nvPr userDrawn="1"/>
        </p:nvGrpSpPr>
        <p:grpSpPr>
          <a:xfrm>
            <a:off x="576139" y="356679"/>
            <a:ext cx="1060123" cy="157076"/>
            <a:chOff x="576140" y="6451484"/>
            <a:chExt cx="615478" cy="91194"/>
          </a:xfrm>
          <a:solidFill>
            <a:schemeClr val="tx2"/>
          </a:solidFill>
        </p:grpSpPr>
        <p:sp>
          <p:nvSpPr>
            <p:cNvPr id="62" name="Bild 2">
              <a:extLst>
                <a:ext uri="{FF2B5EF4-FFF2-40B4-BE49-F238E27FC236}">
                  <a16:creationId xmlns:a16="http://schemas.microsoft.com/office/drawing/2014/main" id="{34B0D9DD-7C10-5F44-BF90-E4725CC02B7F}"/>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sv-SE">
                <a:solidFill>
                  <a:schemeClr val="tx2"/>
                </a:solidFill>
              </a:endParaRPr>
            </a:p>
          </p:txBody>
        </p:sp>
        <p:sp>
          <p:nvSpPr>
            <p:cNvPr id="63" name="Bild 2">
              <a:extLst>
                <a:ext uri="{FF2B5EF4-FFF2-40B4-BE49-F238E27FC236}">
                  <a16:creationId xmlns:a16="http://schemas.microsoft.com/office/drawing/2014/main" id="{9333FAAF-3916-C84B-A4CC-472A10E5FD21}"/>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sv-SE">
                <a:solidFill>
                  <a:schemeClr val="tx2"/>
                </a:solidFill>
              </a:endParaRPr>
            </a:p>
          </p:txBody>
        </p:sp>
        <p:sp>
          <p:nvSpPr>
            <p:cNvPr id="64" name="Bild 2">
              <a:extLst>
                <a:ext uri="{FF2B5EF4-FFF2-40B4-BE49-F238E27FC236}">
                  <a16:creationId xmlns:a16="http://schemas.microsoft.com/office/drawing/2014/main" id="{E3DA2BDA-82F6-C640-9E27-537DA60E22D2}"/>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65" name="Bild 2">
              <a:extLst>
                <a:ext uri="{FF2B5EF4-FFF2-40B4-BE49-F238E27FC236}">
                  <a16:creationId xmlns:a16="http://schemas.microsoft.com/office/drawing/2014/main" id="{E456F497-D9F5-4E4F-9AF3-A1A4A44D26D4}"/>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sp>
          <p:nvSpPr>
            <p:cNvPr id="66" name="Bild 2">
              <a:extLst>
                <a:ext uri="{FF2B5EF4-FFF2-40B4-BE49-F238E27FC236}">
                  <a16:creationId xmlns:a16="http://schemas.microsoft.com/office/drawing/2014/main" id="{B670A634-218B-6946-94C9-5A68C0A0443C}"/>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sv-SE">
                <a:solidFill>
                  <a:schemeClr val="tx2"/>
                </a:solidFill>
              </a:endParaRPr>
            </a:p>
          </p:txBody>
        </p:sp>
        <p:sp>
          <p:nvSpPr>
            <p:cNvPr id="67" name="Bild 2">
              <a:extLst>
                <a:ext uri="{FF2B5EF4-FFF2-40B4-BE49-F238E27FC236}">
                  <a16:creationId xmlns:a16="http://schemas.microsoft.com/office/drawing/2014/main" id="{FC7D2288-841A-C443-80D1-8E0BE90E0171}"/>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68" name="Bild 2">
              <a:extLst>
                <a:ext uri="{FF2B5EF4-FFF2-40B4-BE49-F238E27FC236}">
                  <a16:creationId xmlns:a16="http://schemas.microsoft.com/office/drawing/2014/main" id="{FA828F5C-03A9-8649-9199-869425B6C0B6}"/>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grpSp>
    </p:spTree>
    <p:extLst>
      <p:ext uri="{BB962C8B-B14F-4D97-AF65-F5344CB8AC3E}">
        <p14:creationId xmlns:p14="http://schemas.microsoft.com/office/powerpoint/2010/main" val="1069437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tel og innhold - oransje overskri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55ACFF4-9219-456F-A977-8F973040D302}"/>
              </a:ext>
            </a:extLst>
          </p:cNvPr>
          <p:cNvGraphicFramePr>
            <a:graphicFrameLocks noChangeAspect="1"/>
          </p:cNvGraphicFramePr>
          <p:nvPr userDrawn="1">
            <p:custDataLst>
              <p:tags r:id="rId1"/>
            </p:custDataLst>
            <p:extLst>
              <p:ext uri="{D42A27DB-BD31-4B8C-83A1-F6EECF244321}">
                <p14:modId xmlns:p14="http://schemas.microsoft.com/office/powerpoint/2010/main" val="3871622629"/>
              </p:ext>
            </p:extLst>
          </p:nvPr>
        </p:nvGraphicFramePr>
        <p:xfrm>
          <a:off x="1551" y="1551"/>
          <a:ext cx="1551" cy="1551"/>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8" name="Objekt 7" hidden="1">
                        <a:extLst>
                          <a:ext uri="{FF2B5EF4-FFF2-40B4-BE49-F238E27FC236}">
                            <a16:creationId xmlns:a16="http://schemas.microsoft.com/office/drawing/2014/main" id="{855ACFF4-9219-456F-A977-8F973040D302}"/>
                          </a:ext>
                        </a:extLst>
                      </p:cNvPr>
                      <p:cNvPicPr/>
                      <p:nvPr/>
                    </p:nvPicPr>
                    <p:blipFill>
                      <a:blip r:embed="rId5"/>
                      <a:stretch>
                        <a:fillRect/>
                      </a:stretch>
                    </p:blipFill>
                    <p:spPr>
                      <a:xfrm>
                        <a:off x="1551" y="1551"/>
                        <a:ext cx="1551" cy="1551"/>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26BCC348-8CDE-4883-B52B-F583C0E78184}"/>
              </a:ext>
            </a:extLst>
          </p:cNvPr>
          <p:cNvSpPr/>
          <p:nvPr userDrawn="1">
            <p:custDataLst>
              <p:tags r:id="rId2"/>
            </p:custDataLst>
          </p:nvPr>
        </p:nvSpPr>
        <p:spPr>
          <a:xfrm>
            <a:off x="0" y="0"/>
            <a:ext cx="155055" cy="155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2930"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lvl1pPr>
              <a:defRPr>
                <a:solidFill>
                  <a:srgbClr val="F47920"/>
                </a:solidFill>
              </a:defRPr>
            </a:lvl1pPr>
          </a:lstStyle>
          <a:p>
            <a:r>
              <a:rPr lang="nb-NO"/>
              <a:t>Klikk for å redigere tittelstil</a:t>
            </a:r>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pPr>
              <a:defRPr/>
            </a:pPr>
            <a:fld id="{5AA06C9C-A0AD-4D34-8CCC-BB4F72C13F0A}" type="datetime1">
              <a:rPr lang="en-US" smtClean="0"/>
              <a:t>11/1/2023</a:t>
            </a:fld>
            <a:endParaRPr lang="nb-NO"/>
          </a:p>
        </p:txBody>
      </p:sp>
      <p:sp>
        <p:nvSpPr>
          <p:cNvPr id="5" name="Footer Placeholder 4"/>
          <p:cNvSpPr>
            <a:spLocks noGrp="1"/>
          </p:cNvSpPr>
          <p:nvPr>
            <p:ph type="ftr" sz="quarter" idx="11"/>
          </p:nvPr>
        </p:nvSpPr>
        <p:spPr/>
        <p:txBody>
          <a:bodyPr/>
          <a:lstStyle>
            <a:lvl1pPr>
              <a:defRPr/>
            </a:lvl1pPr>
          </a:lstStyle>
          <a:p>
            <a:pPr>
              <a:defRPr/>
            </a:pPr>
            <a:r>
              <a:rPr lang="en-US"/>
              <a:t>Go to header/footer to change text </a:t>
            </a:r>
            <a:endParaRPr lang="nb-NO"/>
          </a:p>
        </p:txBody>
      </p:sp>
      <p:sp>
        <p:nvSpPr>
          <p:cNvPr id="6" name="Slide Number Placeholder 5"/>
          <p:cNvSpPr>
            <a:spLocks noGrp="1"/>
          </p:cNvSpPr>
          <p:nvPr>
            <p:ph type="sldNum" sz="quarter" idx="12"/>
          </p:nvPr>
        </p:nvSpPr>
        <p:spPr/>
        <p:txBody>
          <a:bodyPr/>
          <a:lstStyle>
            <a:lvl1pPr>
              <a:defRPr/>
            </a:lvl1pPr>
          </a:lstStyle>
          <a:p>
            <a:pPr>
              <a:defRPr/>
            </a:pPr>
            <a:fld id="{800981E0-06BB-45D7-A057-2D4A2B8F040F}" type="slidenum">
              <a:rPr lang="nb-NO"/>
              <a:pPr>
                <a:defRPr/>
              </a:pPr>
              <a:t>‹#›</a:t>
            </a:fld>
            <a:endParaRPr lang="nb-NO"/>
          </a:p>
        </p:txBody>
      </p:sp>
    </p:spTree>
    <p:extLst>
      <p:ext uri="{BB962C8B-B14F-4D97-AF65-F5344CB8AC3E}">
        <p14:creationId xmlns:p14="http://schemas.microsoft.com/office/powerpoint/2010/main" val="30018978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Tittel og undertittel">
    <p:spTree>
      <p:nvGrpSpPr>
        <p:cNvPr id="1" name=""/>
        <p:cNvGrpSpPr/>
        <p:nvPr/>
      </p:nvGrpSpPr>
      <p:grpSpPr>
        <a:xfrm>
          <a:off x="0" y="0"/>
          <a:ext cx="0" cy="0"/>
          <a:chOff x="0" y="0"/>
          <a:chExt cx="0" cy="0"/>
        </a:xfrm>
      </p:grpSpPr>
      <p:sp>
        <p:nvSpPr>
          <p:cNvPr id="11" name="Shape 11"/>
          <p:cNvSpPr>
            <a:spLocks noGrp="1"/>
          </p:cNvSpPr>
          <p:nvPr>
            <p:ph type="title"/>
          </p:nvPr>
        </p:nvSpPr>
        <p:spPr>
          <a:xfrm>
            <a:off x="889000" y="1149350"/>
            <a:ext cx="10414000" cy="2324100"/>
          </a:xfrm>
          <a:prstGeom prst="rect">
            <a:avLst/>
          </a:prstGeom>
        </p:spPr>
        <p:txBody>
          <a:bodyPr anchor="b"/>
          <a:lstStyle/>
          <a:p>
            <a:r>
              <a:t>Titteltekst</a:t>
            </a:r>
          </a:p>
        </p:txBody>
      </p:sp>
      <p:sp>
        <p:nvSpPr>
          <p:cNvPr id="12" name="Shape 12"/>
          <p:cNvSpPr>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2200"/>
            </a:lvl1pPr>
            <a:lvl2pPr marL="0" indent="114300" algn="ctr">
              <a:spcBef>
                <a:spcPts val="0"/>
              </a:spcBef>
              <a:buSzTx/>
              <a:buNone/>
              <a:defRPr sz="2200"/>
            </a:lvl2pPr>
            <a:lvl3pPr marL="0" indent="228600" algn="ctr">
              <a:spcBef>
                <a:spcPts val="0"/>
              </a:spcBef>
              <a:buSzTx/>
              <a:buNone/>
              <a:defRPr sz="2200"/>
            </a:lvl3pPr>
            <a:lvl4pPr marL="0" indent="342900" algn="ctr">
              <a:spcBef>
                <a:spcPts val="0"/>
              </a:spcBef>
              <a:buSzTx/>
              <a:buNone/>
              <a:defRPr sz="2200"/>
            </a:lvl4pPr>
            <a:lvl5pPr marL="0" indent="457200" algn="ctr">
              <a:spcBef>
                <a:spcPts val="0"/>
              </a:spcBef>
              <a:buSzTx/>
              <a:buNone/>
              <a:defRPr sz="2200"/>
            </a:lvl5pPr>
          </a:lstStyle>
          <a:p>
            <a:r>
              <a:t>Brødtekst nivå én</a:t>
            </a:r>
          </a:p>
          <a:p>
            <a:pPr lvl="1"/>
            <a:r>
              <a:t>Brødtekst nivå to</a:t>
            </a:r>
          </a:p>
          <a:p>
            <a:pPr lvl="2"/>
            <a:r>
              <a:t>Brødtekst nivå tre</a:t>
            </a:r>
          </a:p>
          <a:p>
            <a:pPr lvl="3"/>
            <a:r>
              <a:t>Brødtekst nivå fire</a:t>
            </a:r>
          </a:p>
          <a:p>
            <a:pPr lvl="4"/>
            <a:r>
              <a:t>Brødtekst nivå fem</a:t>
            </a:r>
          </a:p>
        </p:txBody>
      </p:sp>
      <p:sp>
        <p:nvSpPr>
          <p:cNvPr id="13" name="Shape 13"/>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016026585"/>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Start Image Right">
    <p:bg>
      <p:bgRef idx="1001">
        <a:schemeClr val="bg1"/>
      </p:bgRef>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3AC9EDD-8C27-D14A-8926-6F5BFEA987E1}"/>
              </a:ext>
            </a:extLst>
          </p:cNvPr>
          <p:cNvSpPr>
            <a:spLocks noGrp="1"/>
          </p:cNvSpPr>
          <p:nvPr>
            <p:ph type="pic" sz="quarter" idx="13" hasCustomPrompt="1"/>
          </p:nvPr>
        </p:nvSpPr>
        <p:spPr>
          <a:xfrm>
            <a:off x="6106443" y="5"/>
            <a:ext cx="6094408" cy="6857997"/>
          </a:xfrm>
          <a:custGeom>
            <a:avLst/>
            <a:gdLst>
              <a:gd name="connsiteX0" fmla="*/ 0 w 6094408"/>
              <a:gd name="connsiteY0" fmla="*/ 0 h 6857997"/>
              <a:gd name="connsiteX1" fmla="*/ 6094408 w 6094408"/>
              <a:gd name="connsiteY1" fmla="*/ 0 h 6857997"/>
              <a:gd name="connsiteX2" fmla="*/ 6094408 w 6094408"/>
              <a:gd name="connsiteY2" fmla="*/ 6857997 h 6857997"/>
              <a:gd name="connsiteX3" fmla="*/ 0 w 6094408"/>
              <a:gd name="connsiteY3" fmla="*/ 6857997 h 6857997"/>
            </a:gdLst>
            <a:ahLst/>
            <a:cxnLst>
              <a:cxn ang="0">
                <a:pos x="connsiteX0" y="connsiteY0"/>
              </a:cxn>
              <a:cxn ang="0">
                <a:pos x="connsiteX1" y="connsiteY1"/>
              </a:cxn>
              <a:cxn ang="0">
                <a:pos x="connsiteX2" y="connsiteY2"/>
              </a:cxn>
              <a:cxn ang="0">
                <a:pos x="connsiteX3" y="connsiteY3"/>
              </a:cxn>
            </a:cxnLst>
            <a:rect l="l" t="t" r="r" b="b"/>
            <a:pathLst>
              <a:path w="6094408" h="6857997">
                <a:moveTo>
                  <a:pt x="0" y="0"/>
                </a:moveTo>
                <a:lnTo>
                  <a:pt x="6094408" y="0"/>
                </a:lnTo>
                <a:lnTo>
                  <a:pt x="6094408"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1" name="Text Placeholder 18">
            <a:extLst>
              <a:ext uri="{FF2B5EF4-FFF2-40B4-BE49-F238E27FC236}">
                <a16:creationId xmlns:a16="http://schemas.microsoft.com/office/drawing/2014/main" id="{F33AAA9B-2FD7-7742-8FFC-0853E10FF816}"/>
              </a:ext>
            </a:extLst>
          </p:cNvPr>
          <p:cNvSpPr>
            <a:spLocks noGrp="1"/>
          </p:cNvSpPr>
          <p:nvPr>
            <p:ph type="body" sz="quarter" idx="14" hasCustomPrompt="1"/>
          </p:nvPr>
        </p:nvSpPr>
        <p:spPr>
          <a:xfrm>
            <a:off x="586800" y="1022400"/>
            <a:ext cx="5367600" cy="1069200"/>
          </a:xfrm>
          <a:prstGeom prst="rect">
            <a:avLst/>
          </a:prstGeom>
        </p:spPr>
        <p:txBody>
          <a:bodyPr anchor="b">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a:t>
            </a:r>
            <a:br>
              <a:rPr lang="en-US" noProof="0" dirty="0"/>
            </a:br>
            <a:r>
              <a:rPr lang="en-US" noProof="0" dirty="0"/>
              <a:t>of maximum two lines</a:t>
            </a:r>
          </a:p>
        </p:txBody>
      </p:sp>
      <p:sp>
        <p:nvSpPr>
          <p:cNvPr id="13" name="Text Placeholder 7">
            <a:extLst>
              <a:ext uri="{FF2B5EF4-FFF2-40B4-BE49-F238E27FC236}">
                <a16:creationId xmlns:a16="http://schemas.microsoft.com/office/drawing/2014/main" id="{82C1EA7A-B2DC-6047-B1F0-EB47347CB0FD}"/>
              </a:ext>
            </a:extLst>
          </p:cNvPr>
          <p:cNvSpPr>
            <a:spLocks noGrp="1"/>
          </p:cNvSpPr>
          <p:nvPr>
            <p:ph type="body" sz="quarter" idx="19" hasCustomPrompt="1"/>
          </p:nvPr>
        </p:nvSpPr>
        <p:spPr>
          <a:xfrm>
            <a:off x="586800" y="2228400"/>
            <a:ext cx="3758400" cy="766800"/>
          </a:xfrm>
        </p:spPr>
        <p:txBody>
          <a:bodyPr/>
          <a:lstStyle>
            <a:lvl1pPr marL="0" indent="0">
              <a:lnSpc>
                <a:spcPct val="100000"/>
              </a:lnSpc>
              <a:spcBef>
                <a:spcPts val="0"/>
              </a:spcBef>
              <a:spcAft>
                <a:spcPts val="0"/>
              </a:spcAft>
              <a:buNone/>
              <a:defRPr sz="1400" spc="70" baseline="0">
                <a:solidFill>
                  <a:schemeClr val="tx2"/>
                </a:solidFill>
              </a:defRPr>
            </a:lvl1pPr>
            <a:lvl2pPr>
              <a:lnSpc>
                <a:spcPct val="100000"/>
              </a:lnSpc>
              <a:spcBef>
                <a:spcPts val="0"/>
              </a:spcBef>
              <a:spcAft>
                <a:spcPts val="600"/>
              </a:spcAft>
              <a:defRPr spc="40" baseline="0"/>
            </a:lvl2pPr>
            <a:lvl3pPr>
              <a:defRPr spc="40" baseline="0"/>
            </a:lvl3pPr>
            <a:lvl4pPr>
              <a:defRPr spc="40" baseline="0"/>
            </a:lvl4pPr>
            <a:lvl5pPr>
              <a:defRPr spc="40" baseline="0"/>
            </a:lvl5pPr>
          </a:lstStyle>
          <a:p>
            <a:pPr lvl="0"/>
            <a:r>
              <a:rPr lang="en-US" noProof="0"/>
              <a:t>Click to add name </a:t>
            </a:r>
            <a:br>
              <a:rPr lang="en-US" noProof="0"/>
            </a:br>
            <a:r>
              <a:rPr lang="en-US" noProof="0"/>
              <a:t>Title, Business Unit</a:t>
            </a:r>
          </a:p>
          <a:p>
            <a:pPr lvl="0"/>
            <a:r>
              <a:rPr lang="en-US" noProof="0"/>
              <a:t>And Date</a:t>
            </a:r>
          </a:p>
          <a:p>
            <a:pPr lvl="0"/>
            <a:endParaRPr lang="en-US" noProof="0"/>
          </a:p>
        </p:txBody>
      </p:sp>
      <p:grpSp>
        <p:nvGrpSpPr>
          <p:cNvPr id="16" name="Grupp 12">
            <a:extLst>
              <a:ext uri="{FF2B5EF4-FFF2-40B4-BE49-F238E27FC236}">
                <a16:creationId xmlns:a16="http://schemas.microsoft.com/office/drawing/2014/main" id="{7B8EA33A-0DDA-7940-8113-BE73FD751EB8}"/>
              </a:ext>
            </a:extLst>
          </p:cNvPr>
          <p:cNvGrpSpPr/>
          <p:nvPr userDrawn="1"/>
        </p:nvGrpSpPr>
        <p:grpSpPr>
          <a:xfrm>
            <a:off x="576139" y="356679"/>
            <a:ext cx="1060123" cy="157076"/>
            <a:chOff x="576140" y="6451484"/>
            <a:chExt cx="615478" cy="91194"/>
          </a:xfrm>
          <a:solidFill>
            <a:schemeClr val="tx2"/>
          </a:solidFill>
        </p:grpSpPr>
        <p:sp>
          <p:nvSpPr>
            <p:cNvPr id="23" name="Bild 2">
              <a:extLst>
                <a:ext uri="{FF2B5EF4-FFF2-40B4-BE49-F238E27FC236}">
                  <a16:creationId xmlns:a16="http://schemas.microsoft.com/office/drawing/2014/main" id="{16C420B3-38E5-A24E-87DB-AEBB461037E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F1EECABB-58E1-594D-BB46-4F637D1B815D}"/>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55844BB1-0477-5F42-8E26-AD07E3790CA2}"/>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2B38D3F9-8AB2-7041-BCFA-7A39AEC96D6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9FF5F733-ABFA-F74D-A51F-32D156E9697F}"/>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12399984-7D89-BA4B-8680-16A35DE6346A}"/>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3F7ACFCB-3C11-A944-85A1-813B3B296B31}"/>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pic>
        <p:nvPicPr>
          <p:cNvPr id="3" name="Picture 2">
            <a:extLst>
              <a:ext uri="{FF2B5EF4-FFF2-40B4-BE49-F238E27FC236}">
                <a16:creationId xmlns:a16="http://schemas.microsoft.com/office/drawing/2014/main" id="{3AEBADDD-1900-F249-8119-D21783D428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3423856"/>
            <a:ext cx="6105144" cy="3434144"/>
          </a:xfrm>
          <a:prstGeom prst="rect">
            <a:avLst/>
          </a:prstGeom>
        </p:spPr>
      </p:pic>
      <p:sp>
        <p:nvSpPr>
          <p:cNvPr id="14" name="Text Placeholder 4">
            <a:extLst>
              <a:ext uri="{FF2B5EF4-FFF2-40B4-BE49-F238E27FC236}">
                <a16:creationId xmlns:a16="http://schemas.microsoft.com/office/drawing/2014/main" id="{CC3C7BB9-3F20-C241-BDD4-EFCDD224BE0F}"/>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59371118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Start Image bottom ">
    <p:bg>
      <p:bgRef idx="1001">
        <a:schemeClr val="bg1"/>
      </p:bgRef>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EE6BDD26-0003-9E49-B5AA-0AFE38C202D5}"/>
              </a:ext>
            </a:extLst>
          </p:cNvPr>
          <p:cNvSpPr>
            <a:spLocks noGrp="1"/>
          </p:cNvSpPr>
          <p:nvPr>
            <p:ph type="pic" sz="quarter" idx="13"/>
          </p:nvPr>
        </p:nvSpPr>
        <p:spPr>
          <a:xfrm>
            <a:off x="5" y="3429000"/>
            <a:ext cx="12191997" cy="3429000"/>
          </a:xfrm>
          <a:custGeom>
            <a:avLst/>
            <a:gdLst>
              <a:gd name="connsiteX0" fmla="*/ 0 w 12191997"/>
              <a:gd name="connsiteY0" fmla="*/ 0 h 3429000"/>
              <a:gd name="connsiteX1" fmla="*/ 12191997 w 12191997"/>
              <a:gd name="connsiteY1" fmla="*/ 0 h 3429000"/>
              <a:gd name="connsiteX2" fmla="*/ 12191997 w 12191997"/>
              <a:gd name="connsiteY2" fmla="*/ 3429000 h 3429000"/>
              <a:gd name="connsiteX3" fmla="*/ 0 w 12191997"/>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1997" h="3429000">
                <a:moveTo>
                  <a:pt x="0" y="0"/>
                </a:moveTo>
                <a:lnTo>
                  <a:pt x="12191997" y="0"/>
                </a:lnTo>
                <a:lnTo>
                  <a:pt x="12191997" y="3429000"/>
                </a:lnTo>
                <a:lnTo>
                  <a:pt x="0" y="3429000"/>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endParaRPr lang="en-US" noProof="0"/>
          </a:p>
          <a:p>
            <a:r>
              <a:rPr lang="en-US" noProof="0"/>
              <a:t>Click on the icon to add an image</a:t>
            </a:r>
          </a:p>
        </p:txBody>
      </p:sp>
      <p:sp>
        <p:nvSpPr>
          <p:cNvPr id="23" name="Text Placeholder 18">
            <a:extLst>
              <a:ext uri="{FF2B5EF4-FFF2-40B4-BE49-F238E27FC236}">
                <a16:creationId xmlns:a16="http://schemas.microsoft.com/office/drawing/2014/main" id="{B90E63D6-B767-044F-B22B-DAE3A993B4EF}"/>
              </a:ext>
            </a:extLst>
          </p:cNvPr>
          <p:cNvSpPr>
            <a:spLocks noGrp="1"/>
          </p:cNvSpPr>
          <p:nvPr>
            <p:ph type="body" sz="quarter" idx="14" hasCustomPrompt="1"/>
          </p:nvPr>
        </p:nvSpPr>
        <p:spPr>
          <a:xfrm>
            <a:off x="586800" y="1022400"/>
            <a:ext cx="5367600" cy="1069200"/>
          </a:xfrm>
          <a:prstGeom prst="rect">
            <a:avLst/>
          </a:prstGeom>
        </p:spPr>
        <p:txBody>
          <a:bodyPr anchor="b">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a:t>
            </a:r>
            <a:br>
              <a:rPr lang="en-US" noProof="0" dirty="0"/>
            </a:br>
            <a:r>
              <a:rPr lang="en-US" noProof="0" dirty="0"/>
              <a:t>of maximum two lines</a:t>
            </a:r>
          </a:p>
        </p:txBody>
      </p:sp>
      <p:sp>
        <p:nvSpPr>
          <p:cNvPr id="25" name="Text Placeholder 7">
            <a:extLst>
              <a:ext uri="{FF2B5EF4-FFF2-40B4-BE49-F238E27FC236}">
                <a16:creationId xmlns:a16="http://schemas.microsoft.com/office/drawing/2014/main" id="{011EC948-22C4-664E-98D2-87FDF8C22E1F}"/>
              </a:ext>
            </a:extLst>
          </p:cNvPr>
          <p:cNvSpPr>
            <a:spLocks noGrp="1"/>
          </p:cNvSpPr>
          <p:nvPr>
            <p:ph type="body" sz="quarter" idx="19" hasCustomPrompt="1"/>
          </p:nvPr>
        </p:nvSpPr>
        <p:spPr>
          <a:xfrm>
            <a:off x="586800" y="2228400"/>
            <a:ext cx="3758400" cy="766800"/>
          </a:xfrm>
        </p:spPr>
        <p:txBody>
          <a:bodyPr/>
          <a:lstStyle>
            <a:lvl1pPr marL="0" indent="0">
              <a:lnSpc>
                <a:spcPct val="100000"/>
              </a:lnSpc>
              <a:spcBef>
                <a:spcPts val="0"/>
              </a:spcBef>
              <a:spcAft>
                <a:spcPts val="0"/>
              </a:spcAft>
              <a:buNone/>
              <a:defRPr sz="1400" spc="70" baseline="0">
                <a:solidFill>
                  <a:schemeClr val="tx2"/>
                </a:solidFill>
              </a:defRPr>
            </a:lvl1pPr>
            <a:lvl2pPr>
              <a:lnSpc>
                <a:spcPct val="100000"/>
              </a:lnSpc>
              <a:spcBef>
                <a:spcPts val="0"/>
              </a:spcBef>
              <a:spcAft>
                <a:spcPts val="600"/>
              </a:spcAft>
              <a:defRPr spc="40" baseline="0"/>
            </a:lvl2pPr>
            <a:lvl3pPr>
              <a:defRPr spc="40" baseline="0"/>
            </a:lvl3pPr>
            <a:lvl4pPr>
              <a:defRPr spc="40" baseline="0"/>
            </a:lvl4pPr>
            <a:lvl5pPr>
              <a:defRPr spc="40" baseline="0"/>
            </a:lvl5pPr>
          </a:lstStyle>
          <a:p>
            <a:pPr lvl="0"/>
            <a:r>
              <a:rPr lang="en-US" noProof="0"/>
              <a:t>Click to add name </a:t>
            </a:r>
            <a:br>
              <a:rPr lang="en-US" noProof="0"/>
            </a:br>
            <a:r>
              <a:rPr lang="en-US" noProof="0"/>
              <a:t>Title, Business Unit</a:t>
            </a:r>
          </a:p>
          <a:p>
            <a:pPr lvl="0"/>
            <a:r>
              <a:rPr lang="en-US" noProof="0"/>
              <a:t>And Date</a:t>
            </a:r>
          </a:p>
        </p:txBody>
      </p:sp>
      <p:grpSp>
        <p:nvGrpSpPr>
          <p:cNvPr id="26" name="Grupp 12">
            <a:extLst>
              <a:ext uri="{FF2B5EF4-FFF2-40B4-BE49-F238E27FC236}">
                <a16:creationId xmlns:a16="http://schemas.microsoft.com/office/drawing/2014/main" id="{89AD5AFE-2894-B941-A82D-0226C18F5E77}"/>
              </a:ext>
            </a:extLst>
          </p:cNvPr>
          <p:cNvGrpSpPr/>
          <p:nvPr userDrawn="1"/>
        </p:nvGrpSpPr>
        <p:grpSpPr>
          <a:xfrm>
            <a:off x="576139" y="356679"/>
            <a:ext cx="1060123" cy="157076"/>
            <a:chOff x="576140" y="6451484"/>
            <a:chExt cx="615478" cy="91194"/>
          </a:xfrm>
          <a:solidFill>
            <a:schemeClr val="tx2"/>
          </a:solidFill>
        </p:grpSpPr>
        <p:sp>
          <p:nvSpPr>
            <p:cNvPr id="27" name="Bild 2">
              <a:extLst>
                <a:ext uri="{FF2B5EF4-FFF2-40B4-BE49-F238E27FC236}">
                  <a16:creationId xmlns:a16="http://schemas.microsoft.com/office/drawing/2014/main" id="{FC7F3D29-B155-774D-B476-2FA09C5D848D}"/>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7F08FE4E-0EBE-0942-85A9-1A5D69F2754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D68821BB-D758-0E4D-B453-676C75C42D70}"/>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1D6B9307-E802-F84D-B75D-993CD3B0A72F}"/>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D4D9B826-FD0D-B24D-AEB1-74FC713BFEB5}"/>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AD7ECE03-2B58-C447-B430-8A321B3A296B}"/>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1DF42BDD-5C24-5E40-850D-18D70780214D}"/>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pic>
        <p:nvPicPr>
          <p:cNvPr id="14" name="Picture 13">
            <a:extLst>
              <a:ext uri="{FF2B5EF4-FFF2-40B4-BE49-F238E27FC236}">
                <a16:creationId xmlns:a16="http://schemas.microsoft.com/office/drawing/2014/main" id="{8B1C15A7-918F-AF40-BCEC-CCE1BABA9F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6000" y="0"/>
            <a:ext cx="6096000" cy="3429000"/>
          </a:xfrm>
          <a:prstGeom prst="rect">
            <a:avLst/>
          </a:prstGeom>
        </p:spPr>
      </p:pic>
      <p:sp>
        <p:nvSpPr>
          <p:cNvPr id="16" name="Text Placeholder 4">
            <a:extLst>
              <a:ext uri="{FF2B5EF4-FFF2-40B4-BE49-F238E27FC236}">
                <a16:creationId xmlns:a16="http://schemas.microsoft.com/office/drawing/2014/main" id="{0D8979E1-21E0-C04D-9C4F-75E1638A4C46}"/>
              </a:ext>
            </a:extLst>
          </p:cNvPr>
          <p:cNvSpPr>
            <a:spLocks noGrp="1"/>
          </p:cNvSpPr>
          <p:nvPr>
            <p:ph type="body" sz="quarter" idx="16" hasCustomPrompt="1"/>
          </p:nvPr>
        </p:nvSpPr>
        <p:spPr>
          <a:xfrm rot="5400000">
            <a:off x="10901730" y="4232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81878812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Title Start Gray">
    <p:spTree>
      <p:nvGrpSpPr>
        <p:cNvPr id="1" name=""/>
        <p:cNvGrpSpPr/>
        <p:nvPr/>
      </p:nvGrpSpPr>
      <p:grpSpPr>
        <a:xfrm>
          <a:off x="0" y="0"/>
          <a:ext cx="0" cy="0"/>
          <a:chOff x="0" y="0"/>
          <a:chExt cx="0" cy="0"/>
        </a:xfrm>
      </p:grpSpPr>
      <p:grpSp>
        <p:nvGrpSpPr>
          <p:cNvPr id="8" name="Grupp 12">
            <a:extLst>
              <a:ext uri="{FF2B5EF4-FFF2-40B4-BE49-F238E27FC236}">
                <a16:creationId xmlns:a16="http://schemas.microsoft.com/office/drawing/2014/main" id="{020B7E71-8C9B-5242-B01F-6CA360F416B2}"/>
              </a:ext>
            </a:extLst>
          </p:cNvPr>
          <p:cNvGrpSpPr/>
          <p:nvPr userDrawn="1"/>
        </p:nvGrpSpPr>
        <p:grpSpPr>
          <a:xfrm>
            <a:off x="576139" y="356679"/>
            <a:ext cx="1060123" cy="157076"/>
            <a:chOff x="576140" y="6451484"/>
            <a:chExt cx="615478" cy="91194"/>
          </a:xfrm>
          <a:solidFill>
            <a:schemeClr val="tx2"/>
          </a:solidFill>
        </p:grpSpPr>
        <p:sp>
          <p:nvSpPr>
            <p:cNvPr id="9" name="Bild 2">
              <a:extLst>
                <a:ext uri="{FF2B5EF4-FFF2-40B4-BE49-F238E27FC236}">
                  <a16:creationId xmlns:a16="http://schemas.microsoft.com/office/drawing/2014/main" id="{6318E37B-AA14-0649-9DA7-69211BFB17CA}"/>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0" name="Bild 2">
              <a:extLst>
                <a:ext uri="{FF2B5EF4-FFF2-40B4-BE49-F238E27FC236}">
                  <a16:creationId xmlns:a16="http://schemas.microsoft.com/office/drawing/2014/main" id="{32E1F09D-ED0C-DE46-9B1B-B9E26DF0BD3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1" name="Bild 2">
              <a:extLst>
                <a:ext uri="{FF2B5EF4-FFF2-40B4-BE49-F238E27FC236}">
                  <a16:creationId xmlns:a16="http://schemas.microsoft.com/office/drawing/2014/main" id="{3CA8F4F3-6275-ED44-8BB0-3552187481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2" name="Bild 2">
              <a:extLst>
                <a:ext uri="{FF2B5EF4-FFF2-40B4-BE49-F238E27FC236}">
                  <a16:creationId xmlns:a16="http://schemas.microsoft.com/office/drawing/2014/main" id="{9CDD8FD0-0EEC-FF4A-887F-3DDDEE806432}"/>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3" name="Bild 2">
              <a:extLst>
                <a:ext uri="{FF2B5EF4-FFF2-40B4-BE49-F238E27FC236}">
                  <a16:creationId xmlns:a16="http://schemas.microsoft.com/office/drawing/2014/main" id="{6CFB5C2E-2D79-B54B-B355-1FAC5B95A304}"/>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14" name="Bild 2">
              <a:extLst>
                <a:ext uri="{FF2B5EF4-FFF2-40B4-BE49-F238E27FC236}">
                  <a16:creationId xmlns:a16="http://schemas.microsoft.com/office/drawing/2014/main" id="{A94DC018-4855-8D4B-9A15-FEB331F2E3F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5" name="Bild 2">
              <a:extLst>
                <a:ext uri="{FF2B5EF4-FFF2-40B4-BE49-F238E27FC236}">
                  <a16:creationId xmlns:a16="http://schemas.microsoft.com/office/drawing/2014/main" id="{8C343B86-2555-6D48-AE8D-2ACDF160AD2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Text Placeholder 18">
            <a:extLst>
              <a:ext uri="{FF2B5EF4-FFF2-40B4-BE49-F238E27FC236}">
                <a16:creationId xmlns:a16="http://schemas.microsoft.com/office/drawing/2014/main" id="{24922639-C89C-B84A-AA5D-5F56DD1D1156}"/>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accent1"/>
                </a:solidFill>
                <a:latin typeface="+mj-lt"/>
              </a:defRPr>
            </a:lvl1pPr>
          </a:lstStyle>
          <a:p>
            <a:pPr lvl="0"/>
            <a:r>
              <a:rPr lang="en-US" noProof="0" dirty="0"/>
              <a:t>Click to add a headline </a:t>
            </a:r>
            <a:br>
              <a:rPr lang="en-US" noProof="0" dirty="0"/>
            </a:br>
            <a:r>
              <a:rPr lang="en-US" noProof="0" dirty="0"/>
              <a:t>of maximum two lines</a:t>
            </a:r>
          </a:p>
        </p:txBody>
      </p:sp>
      <p:sp>
        <p:nvSpPr>
          <p:cNvPr id="17" name="Text Placeholder 18">
            <a:extLst>
              <a:ext uri="{FF2B5EF4-FFF2-40B4-BE49-F238E27FC236}">
                <a16:creationId xmlns:a16="http://schemas.microsoft.com/office/drawing/2014/main" id="{13062C08-0B1B-AD44-AD72-AA0948D72B37}"/>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accent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18" name="Platshållare för datum 3">
            <a:extLst>
              <a:ext uri="{FF2B5EF4-FFF2-40B4-BE49-F238E27FC236}">
                <a16:creationId xmlns:a16="http://schemas.microsoft.com/office/drawing/2014/main" id="{24313DCE-7C7B-BE47-B236-12335E1BB94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DA7CD7E8-6B93-416F-B2A6-31B9ADD45645}" type="datetime1">
              <a:rPr lang="en-US" noProof="0" smtClean="0"/>
              <a:t>11/1/2023</a:t>
            </a:fld>
            <a:endParaRPr lang="en-US" noProof="0"/>
          </a:p>
        </p:txBody>
      </p:sp>
      <p:sp>
        <p:nvSpPr>
          <p:cNvPr id="19" name="Platshållare för sidfot 4">
            <a:extLst>
              <a:ext uri="{FF2B5EF4-FFF2-40B4-BE49-F238E27FC236}">
                <a16:creationId xmlns:a16="http://schemas.microsoft.com/office/drawing/2014/main" id="{C8598061-D3AB-104D-BCB1-F1F63C9D15A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0" name="Platshållare för bildnummer 5">
            <a:extLst>
              <a:ext uri="{FF2B5EF4-FFF2-40B4-BE49-F238E27FC236}">
                <a16:creationId xmlns:a16="http://schemas.microsoft.com/office/drawing/2014/main" id="{AA379A6C-78A7-5146-80E3-D2B5A4DC31CD}"/>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3678391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Agenda Two Columns">
    <p:bg>
      <p:bgRef idx="1001">
        <a:schemeClr val="bg1"/>
      </p:bgRef>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1C700C8-E7B5-C246-BF0A-50734999BFF2}"/>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0"/>
            <a:ext cx="7253550" cy="4212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for a short headline </a:t>
            </a:r>
          </a:p>
        </p:txBody>
      </p:sp>
      <p:sp>
        <p:nvSpPr>
          <p:cNvPr id="9" name="Text Placeholder 8">
            <a:extLst>
              <a:ext uri="{FF2B5EF4-FFF2-40B4-BE49-F238E27FC236}">
                <a16:creationId xmlns:a16="http://schemas.microsoft.com/office/drawing/2014/main" id="{A02FE398-BCDE-144D-BB12-B6AB8C96E842}"/>
              </a:ext>
            </a:extLst>
          </p:cNvPr>
          <p:cNvSpPr>
            <a:spLocks noGrp="1"/>
          </p:cNvSpPr>
          <p:nvPr>
            <p:ph type="body" sz="quarter" idx="15" hasCustomPrompt="1"/>
          </p:nvPr>
        </p:nvSpPr>
        <p:spPr>
          <a:xfrm>
            <a:off x="576262" y="1746000"/>
            <a:ext cx="7253287" cy="4391999"/>
          </a:xfrm>
        </p:spPr>
        <p:txBody>
          <a:bodyPr numCol="2" spcCol="288000"/>
          <a:lstStyle>
            <a:lvl1pPr marL="342000" indent="-342000">
              <a:lnSpc>
                <a:spcPct val="100000"/>
              </a:lnSpc>
              <a:spcBef>
                <a:spcPts val="0"/>
              </a:spcBef>
              <a:spcAft>
                <a:spcPts val="1000"/>
              </a:spcAft>
              <a:buFont typeface="+mj-lt"/>
              <a:buAutoNum type="arabicPeriod"/>
              <a:defRPr sz="1800" spc="40" baseline="0">
                <a:solidFill>
                  <a:schemeClr val="tx2"/>
                </a:solidFill>
              </a:defRPr>
            </a:lvl1pPr>
            <a:lvl2pPr marL="342000" indent="-342000">
              <a:lnSpc>
                <a:spcPct val="100000"/>
              </a:lnSpc>
              <a:spcAft>
                <a:spcPts val="1000"/>
              </a:spcAft>
              <a:tabLst/>
              <a:defRPr sz="1800" spc="40" baseline="0">
                <a:solidFill>
                  <a:schemeClr val="tx1"/>
                </a:solidFill>
              </a:defRPr>
            </a:lvl2pPr>
            <a:lvl3pPr>
              <a:lnSpc>
                <a:spcPct val="100000"/>
              </a:lnSpc>
              <a:defRPr sz="1400" spc="40" baseline="0">
                <a:solidFill>
                  <a:schemeClr val="tx1"/>
                </a:solidFill>
              </a:defRPr>
            </a:lvl3pPr>
            <a:lvl4pPr>
              <a:lnSpc>
                <a:spcPct val="100000"/>
              </a:lnSpc>
              <a:defRPr sz="1200" spc="40" baseline="0">
                <a:solidFill>
                  <a:schemeClr val="tx1"/>
                </a:solidFill>
              </a:defRPr>
            </a:lvl4pPr>
            <a:lvl5pPr>
              <a:lnSpc>
                <a:spcPct val="100000"/>
              </a:lnSpc>
              <a:defRPr sz="1100" spc="40" baseline="0">
                <a:solidFill>
                  <a:schemeClr val="tx1"/>
                </a:solidFill>
              </a:defRPr>
            </a:lvl5pPr>
          </a:lstStyle>
          <a:p>
            <a:pPr lvl="0"/>
            <a:r>
              <a:rPr lang="en-US" noProof="0"/>
              <a:t>Click for agenda</a:t>
            </a:r>
          </a:p>
        </p:txBody>
      </p:sp>
      <p:grpSp>
        <p:nvGrpSpPr>
          <p:cNvPr id="22" name="Grupp 32">
            <a:extLst>
              <a:ext uri="{FF2B5EF4-FFF2-40B4-BE49-F238E27FC236}">
                <a16:creationId xmlns:a16="http://schemas.microsoft.com/office/drawing/2014/main" id="{C530D02F-41BB-2342-8817-E7BBC1EE526F}"/>
              </a:ext>
            </a:extLst>
          </p:cNvPr>
          <p:cNvGrpSpPr/>
          <p:nvPr userDrawn="1"/>
        </p:nvGrpSpPr>
        <p:grpSpPr>
          <a:xfrm>
            <a:off x="576140" y="6451484"/>
            <a:ext cx="615478" cy="91194"/>
            <a:chOff x="576140" y="6451484"/>
            <a:chExt cx="615478" cy="91194"/>
          </a:xfrm>
          <a:solidFill>
            <a:schemeClr val="tx2"/>
          </a:solidFill>
        </p:grpSpPr>
        <p:sp>
          <p:nvSpPr>
            <p:cNvPr id="23" name="Bild 2">
              <a:extLst>
                <a:ext uri="{FF2B5EF4-FFF2-40B4-BE49-F238E27FC236}">
                  <a16:creationId xmlns:a16="http://schemas.microsoft.com/office/drawing/2014/main" id="{85A084C9-2542-8848-9DB5-5D86D692D297}"/>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2BA0AFD0-9020-B146-9C91-DE2B2751DBBC}"/>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F99A1589-2BCF-A445-9FED-09E2BBBF016D}"/>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756FE558-AE20-A14D-A4E5-DE74496F9A25}"/>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EF190895-7218-EF44-85C0-DEA8162E54FE}"/>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75B0F7AD-B7A4-AD46-94AB-05D26F86F5B5}"/>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24162085-50AF-7D4F-B851-EB1B84146BC8}"/>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datum 3">
            <a:extLst>
              <a:ext uri="{FF2B5EF4-FFF2-40B4-BE49-F238E27FC236}">
                <a16:creationId xmlns:a16="http://schemas.microsoft.com/office/drawing/2014/main" id="{0A36DDC0-4DD5-0A44-B6D5-92B3B9F84962}"/>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CA8DB61A-FC99-4E68-953D-B994C8F36FD3}" type="datetime1">
              <a:rPr lang="en-US" noProof="0" smtClean="0"/>
              <a:t>11/1/2023</a:t>
            </a:fld>
            <a:endParaRPr lang="en-US" noProof="0"/>
          </a:p>
        </p:txBody>
      </p:sp>
      <p:sp>
        <p:nvSpPr>
          <p:cNvPr id="17" name="Platshållare för sidfot 4">
            <a:extLst>
              <a:ext uri="{FF2B5EF4-FFF2-40B4-BE49-F238E27FC236}">
                <a16:creationId xmlns:a16="http://schemas.microsoft.com/office/drawing/2014/main" id="{B98CC20A-8C0B-9A49-BFBE-8D1DF1DBCE33}"/>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5723D486-E6CF-2743-8E0E-97E3E34AA763}"/>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
        <p:nvSpPr>
          <p:cNvPr id="21" name="Text Placeholder 4">
            <a:extLst>
              <a:ext uri="{FF2B5EF4-FFF2-40B4-BE49-F238E27FC236}">
                <a16:creationId xmlns:a16="http://schemas.microsoft.com/office/drawing/2014/main" id="{F5F647EA-519F-A64D-849A-BA46FEFF2C70}"/>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042211400"/>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Text One Column">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grpSp>
        <p:nvGrpSpPr>
          <p:cNvPr id="31" name="Grupp 32">
            <a:extLst>
              <a:ext uri="{FF2B5EF4-FFF2-40B4-BE49-F238E27FC236}">
                <a16:creationId xmlns:a16="http://schemas.microsoft.com/office/drawing/2014/main" id="{45823251-0A92-F943-96AC-12DF30AF4CA3}"/>
              </a:ext>
            </a:extLst>
          </p:cNvPr>
          <p:cNvGrpSpPr/>
          <p:nvPr userDrawn="1"/>
        </p:nvGrpSpPr>
        <p:grpSpPr>
          <a:xfrm>
            <a:off x="576140" y="6451484"/>
            <a:ext cx="615478" cy="91194"/>
            <a:chOff x="576140" y="6451484"/>
            <a:chExt cx="615478" cy="91194"/>
          </a:xfrm>
          <a:solidFill>
            <a:schemeClr val="tx2"/>
          </a:solidFill>
        </p:grpSpPr>
        <p:sp>
          <p:nvSpPr>
            <p:cNvPr id="32" name="Bild 2">
              <a:extLst>
                <a:ext uri="{FF2B5EF4-FFF2-40B4-BE49-F238E27FC236}">
                  <a16:creationId xmlns:a16="http://schemas.microsoft.com/office/drawing/2014/main" id="{74762D86-6151-C443-84B7-A8309855863A}"/>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4BB7FB38-2672-3848-87FA-36EC29BDA202}"/>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8CCCB167-B621-E246-BA5E-9D378AEC7010}"/>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148DCF08-5B2F-BD4B-B128-2CD85227BFA4}"/>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5239769A-D8A1-E94D-8088-5E6F344F6FF7}"/>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7" name="Bild 2">
              <a:extLst>
                <a:ext uri="{FF2B5EF4-FFF2-40B4-BE49-F238E27FC236}">
                  <a16:creationId xmlns:a16="http://schemas.microsoft.com/office/drawing/2014/main" id="{21F33749-C7D4-BB47-8F30-DE2A281D3A9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8" name="Bild 2">
              <a:extLst>
                <a:ext uri="{FF2B5EF4-FFF2-40B4-BE49-F238E27FC236}">
                  <a16:creationId xmlns:a16="http://schemas.microsoft.com/office/drawing/2014/main" id="{47D910AE-98DC-D74F-8049-5CAC6FA0AF92}"/>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 name="Platshållare för text 2">
            <a:extLst>
              <a:ext uri="{FF2B5EF4-FFF2-40B4-BE49-F238E27FC236}">
                <a16:creationId xmlns:a16="http://schemas.microsoft.com/office/drawing/2014/main" id="{A1D46F6E-F6BB-EC4F-8188-19A644D6F0A1}"/>
              </a:ext>
            </a:extLst>
          </p:cNvPr>
          <p:cNvSpPr>
            <a:spLocks noGrp="1"/>
          </p:cNvSpPr>
          <p:nvPr>
            <p:ph type="body" sz="quarter" idx="20" hasCustomPrompt="1"/>
          </p:nvPr>
        </p:nvSpPr>
        <p:spPr>
          <a:xfrm>
            <a:off x="576000" y="2098800"/>
            <a:ext cx="11039738"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Platshållare för datum 3">
            <a:extLst>
              <a:ext uri="{FF2B5EF4-FFF2-40B4-BE49-F238E27FC236}">
                <a16:creationId xmlns:a16="http://schemas.microsoft.com/office/drawing/2014/main" id="{A45FAC72-E06A-5541-AD19-EF81616DFFF7}"/>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BC09A40-8C23-4F78-8DEC-0D32D582ABC1}" type="datetime1">
              <a:rPr lang="en-US" smtClean="0"/>
              <a:t>11/1/2023</a:t>
            </a:fld>
            <a:endParaRPr lang="en-US"/>
          </a:p>
        </p:txBody>
      </p:sp>
      <p:sp>
        <p:nvSpPr>
          <p:cNvPr id="16" name="Platshållare för sidfot 4">
            <a:extLst>
              <a:ext uri="{FF2B5EF4-FFF2-40B4-BE49-F238E27FC236}">
                <a16:creationId xmlns:a16="http://schemas.microsoft.com/office/drawing/2014/main" id="{C43616C8-90A0-E241-84F4-2A5626921525}"/>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17" name="Platshållare för bildnummer 5">
            <a:extLst>
              <a:ext uri="{FF2B5EF4-FFF2-40B4-BE49-F238E27FC236}">
                <a16:creationId xmlns:a16="http://schemas.microsoft.com/office/drawing/2014/main" id="{A4138EC0-2D04-8B4F-99CA-F996696CEF7F}"/>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2570009642"/>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Text Two Flowing Columns">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grpSp>
        <p:nvGrpSpPr>
          <p:cNvPr id="23" name="Grupp 32">
            <a:extLst>
              <a:ext uri="{FF2B5EF4-FFF2-40B4-BE49-F238E27FC236}">
                <a16:creationId xmlns:a16="http://schemas.microsoft.com/office/drawing/2014/main" id="{8B03C48B-F907-BE43-A494-AFCA1EC37F3F}"/>
              </a:ext>
            </a:extLst>
          </p:cNvPr>
          <p:cNvGrpSpPr/>
          <p:nvPr userDrawn="1"/>
        </p:nvGrpSpPr>
        <p:grpSpPr>
          <a:xfrm>
            <a:off x="576140" y="6451484"/>
            <a:ext cx="615478" cy="91194"/>
            <a:chOff x="576140" y="6451484"/>
            <a:chExt cx="615478" cy="91194"/>
          </a:xfrm>
          <a:solidFill>
            <a:schemeClr val="tx2"/>
          </a:solidFill>
        </p:grpSpPr>
        <p:sp>
          <p:nvSpPr>
            <p:cNvPr id="24" name="Bild 2">
              <a:extLst>
                <a:ext uri="{FF2B5EF4-FFF2-40B4-BE49-F238E27FC236}">
                  <a16:creationId xmlns:a16="http://schemas.microsoft.com/office/drawing/2014/main" id="{539AD44F-4AF2-FF4F-9D06-17E1A4C28BBE}"/>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5BE09178-ECA8-844A-B048-00F09827D6AE}"/>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2869571E-38AE-8E44-A360-01C17E6F98BD}"/>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BA7F8BE0-BC77-6840-BE67-8B740867F3BD}"/>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244CF4A3-7B1A-3C41-94CF-1DA929D1D49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9B4D778E-499D-4744-AC87-93ABFC8BAD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15D52584-E231-3B47-A1E3-E875B68A82B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5" name="Platshållare för text 2">
            <a:extLst>
              <a:ext uri="{FF2B5EF4-FFF2-40B4-BE49-F238E27FC236}">
                <a16:creationId xmlns:a16="http://schemas.microsoft.com/office/drawing/2014/main" id="{F71CA44B-A516-DE48-8E00-49E05D1465C6}"/>
              </a:ext>
            </a:extLst>
          </p:cNvPr>
          <p:cNvSpPr>
            <a:spLocks noGrp="1"/>
          </p:cNvSpPr>
          <p:nvPr>
            <p:ph type="body" sz="quarter" idx="20" hasCustomPrompt="1"/>
          </p:nvPr>
        </p:nvSpPr>
        <p:spPr>
          <a:xfrm>
            <a:off x="576000" y="2098800"/>
            <a:ext cx="11039738" cy="4030663"/>
          </a:xfrm>
        </p:spPr>
        <p:txBody>
          <a:bodyPr numCol="2"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latshållare för datum 3">
            <a:extLst>
              <a:ext uri="{FF2B5EF4-FFF2-40B4-BE49-F238E27FC236}">
                <a16:creationId xmlns:a16="http://schemas.microsoft.com/office/drawing/2014/main" id="{27DC427A-891F-B147-86E2-B23F6D534C91}"/>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0952497-4C3A-428F-874D-3DD679613F28}" type="datetime1">
              <a:rPr lang="en-US" smtClean="0"/>
              <a:t>11/1/2023</a:t>
            </a:fld>
            <a:endParaRPr lang="en-US"/>
          </a:p>
        </p:txBody>
      </p:sp>
      <p:sp>
        <p:nvSpPr>
          <p:cNvPr id="17" name="Platshållare för sidfot 4">
            <a:extLst>
              <a:ext uri="{FF2B5EF4-FFF2-40B4-BE49-F238E27FC236}">
                <a16:creationId xmlns:a16="http://schemas.microsoft.com/office/drawing/2014/main" id="{BD08E183-7EEB-1A48-9454-562EA841C114}"/>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18" name="Platshållare för bildnummer 5">
            <a:extLst>
              <a:ext uri="{FF2B5EF4-FFF2-40B4-BE49-F238E27FC236}">
                <a16:creationId xmlns:a16="http://schemas.microsoft.com/office/drawing/2014/main" id="{56AED5FD-1C48-544B-95C1-198A224E374A}"/>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4083794808"/>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Text Two Columns Headline">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sp>
        <p:nvSpPr>
          <p:cNvPr id="22" name="Text Placeholder 7">
            <a:extLst>
              <a:ext uri="{FF2B5EF4-FFF2-40B4-BE49-F238E27FC236}">
                <a16:creationId xmlns:a16="http://schemas.microsoft.com/office/drawing/2014/main" id="{C549C084-B31C-4141-B8C7-D02E39FDC08F}"/>
              </a:ext>
            </a:extLst>
          </p:cNvPr>
          <p:cNvSpPr>
            <a:spLocks noGrp="1"/>
          </p:cNvSpPr>
          <p:nvPr>
            <p:ph type="body" sz="quarter" idx="19" hasCustomPrompt="1"/>
          </p:nvPr>
        </p:nvSpPr>
        <p:spPr>
          <a:xfrm>
            <a:off x="576000" y="2098800"/>
            <a:ext cx="5377125"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grpSp>
        <p:nvGrpSpPr>
          <p:cNvPr id="24" name="Grupp 32">
            <a:extLst>
              <a:ext uri="{FF2B5EF4-FFF2-40B4-BE49-F238E27FC236}">
                <a16:creationId xmlns:a16="http://schemas.microsoft.com/office/drawing/2014/main" id="{E164E836-38EC-A94B-94D6-4538F8D3068F}"/>
              </a:ext>
            </a:extLst>
          </p:cNvPr>
          <p:cNvGrpSpPr/>
          <p:nvPr userDrawn="1"/>
        </p:nvGrpSpPr>
        <p:grpSpPr>
          <a:xfrm>
            <a:off x="576140" y="6451484"/>
            <a:ext cx="615478" cy="91194"/>
            <a:chOff x="576140" y="6451484"/>
            <a:chExt cx="615478" cy="91194"/>
          </a:xfrm>
          <a:solidFill>
            <a:schemeClr val="tx2"/>
          </a:solidFill>
        </p:grpSpPr>
        <p:sp>
          <p:nvSpPr>
            <p:cNvPr id="25" name="Bild 2">
              <a:extLst>
                <a:ext uri="{FF2B5EF4-FFF2-40B4-BE49-F238E27FC236}">
                  <a16:creationId xmlns:a16="http://schemas.microsoft.com/office/drawing/2014/main" id="{B55DD83B-497E-394E-9FB9-A2CB2BF48C7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3170AB03-1838-104A-95E4-72BAFAA58DD1}"/>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B952FC06-D82A-CF4A-8968-E6B1A3553A58}"/>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57715913-E5D9-6C44-B00A-89C6D73C4B77}"/>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6650016E-D5DD-D240-AF61-A7B094FFF0C7}"/>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315C4DD5-E3CD-3F4C-9343-87C793A284D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016017F4-CF5B-3345-9010-EBD073B07768}"/>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text 2">
            <a:extLst>
              <a:ext uri="{FF2B5EF4-FFF2-40B4-BE49-F238E27FC236}">
                <a16:creationId xmlns:a16="http://schemas.microsoft.com/office/drawing/2014/main" id="{ECEA6B9D-FCD9-264F-B149-52BDAA51427B}"/>
              </a:ext>
            </a:extLst>
          </p:cNvPr>
          <p:cNvSpPr>
            <a:spLocks noGrp="1"/>
          </p:cNvSpPr>
          <p:nvPr>
            <p:ph type="body" sz="quarter" idx="21" hasCustomPrompt="1"/>
          </p:nvPr>
        </p:nvSpPr>
        <p:spPr>
          <a:xfrm>
            <a:off x="576000" y="2464310"/>
            <a:ext cx="5377125"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7">
            <a:extLst>
              <a:ext uri="{FF2B5EF4-FFF2-40B4-BE49-F238E27FC236}">
                <a16:creationId xmlns:a16="http://schemas.microsoft.com/office/drawing/2014/main" id="{F6C12987-225B-0E47-8F8B-19D28C763DEE}"/>
              </a:ext>
            </a:extLst>
          </p:cNvPr>
          <p:cNvSpPr>
            <a:spLocks noGrp="1"/>
          </p:cNvSpPr>
          <p:nvPr>
            <p:ph type="body" sz="quarter" idx="22" hasCustomPrompt="1"/>
          </p:nvPr>
        </p:nvSpPr>
        <p:spPr>
          <a:xfrm>
            <a:off x="6253234" y="2098800"/>
            <a:ext cx="5377125"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0" name="Platshållare för text 2">
            <a:extLst>
              <a:ext uri="{FF2B5EF4-FFF2-40B4-BE49-F238E27FC236}">
                <a16:creationId xmlns:a16="http://schemas.microsoft.com/office/drawing/2014/main" id="{A18C74BD-CC5C-1E4F-BEFD-F00C703BC870}"/>
              </a:ext>
            </a:extLst>
          </p:cNvPr>
          <p:cNvSpPr>
            <a:spLocks noGrp="1"/>
          </p:cNvSpPr>
          <p:nvPr>
            <p:ph type="body" sz="quarter" idx="23" hasCustomPrompt="1"/>
          </p:nvPr>
        </p:nvSpPr>
        <p:spPr>
          <a:xfrm>
            <a:off x="6253234" y="2464310"/>
            <a:ext cx="5377125"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Platshållare för datum 3">
            <a:extLst>
              <a:ext uri="{FF2B5EF4-FFF2-40B4-BE49-F238E27FC236}">
                <a16:creationId xmlns:a16="http://schemas.microsoft.com/office/drawing/2014/main" id="{50634EA5-8E05-4B46-AB5B-54928CE760AD}"/>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DD82382A-0D50-402E-BABE-C273C5C86C8E}" type="datetime1">
              <a:rPr lang="en-US" smtClean="0"/>
              <a:t>11/1/2023</a:t>
            </a:fld>
            <a:endParaRPr lang="en-US"/>
          </a:p>
        </p:txBody>
      </p:sp>
      <p:sp>
        <p:nvSpPr>
          <p:cNvPr id="23" name="Platshållare för sidfot 4">
            <a:extLst>
              <a:ext uri="{FF2B5EF4-FFF2-40B4-BE49-F238E27FC236}">
                <a16:creationId xmlns:a16="http://schemas.microsoft.com/office/drawing/2014/main" id="{156F3733-30BA-004F-9BCE-87E0F6363AF7}"/>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32" name="Platshållare för bildnummer 5">
            <a:extLst>
              <a:ext uri="{FF2B5EF4-FFF2-40B4-BE49-F238E27FC236}">
                <a16:creationId xmlns:a16="http://schemas.microsoft.com/office/drawing/2014/main" id="{6318D18D-266E-B248-A64E-142432F65CFE}"/>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405818148"/>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ext Three Flowing Columns">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b="0" spc="40" baseline="0">
                <a:solidFill>
                  <a:schemeClr val="tx2"/>
                </a:solidFill>
                <a:latin typeface="+mj-lt"/>
              </a:defRPr>
            </a:lvl1pPr>
          </a:lstStyle>
          <a:p>
            <a:pPr lvl="0"/>
            <a:r>
              <a:rPr lang="en-US" noProof="0" dirty="0"/>
              <a:t>Click to add a headline of maximum two lines</a:t>
            </a:r>
          </a:p>
          <a:p>
            <a:pPr lvl="0"/>
            <a:endParaRPr lang="en-US" noProof="0" dirty="0"/>
          </a:p>
        </p:txBody>
      </p:sp>
      <p:grpSp>
        <p:nvGrpSpPr>
          <p:cNvPr id="23" name="Grupp 32">
            <a:extLst>
              <a:ext uri="{FF2B5EF4-FFF2-40B4-BE49-F238E27FC236}">
                <a16:creationId xmlns:a16="http://schemas.microsoft.com/office/drawing/2014/main" id="{8B03C48B-F907-BE43-A494-AFCA1EC37F3F}"/>
              </a:ext>
            </a:extLst>
          </p:cNvPr>
          <p:cNvGrpSpPr/>
          <p:nvPr userDrawn="1"/>
        </p:nvGrpSpPr>
        <p:grpSpPr>
          <a:xfrm>
            <a:off x="576140" y="6451484"/>
            <a:ext cx="615478" cy="91194"/>
            <a:chOff x="576140" y="6451484"/>
            <a:chExt cx="615478" cy="91194"/>
          </a:xfrm>
          <a:solidFill>
            <a:schemeClr val="tx2"/>
          </a:solidFill>
        </p:grpSpPr>
        <p:sp>
          <p:nvSpPr>
            <p:cNvPr id="24" name="Bild 2">
              <a:extLst>
                <a:ext uri="{FF2B5EF4-FFF2-40B4-BE49-F238E27FC236}">
                  <a16:creationId xmlns:a16="http://schemas.microsoft.com/office/drawing/2014/main" id="{539AD44F-4AF2-FF4F-9D06-17E1A4C28BBE}"/>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5BE09178-ECA8-844A-B048-00F09827D6AE}"/>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2869571E-38AE-8E44-A360-01C17E6F98BD}"/>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BA7F8BE0-BC77-6840-BE67-8B740867F3BD}"/>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244CF4A3-7B1A-3C41-94CF-1DA929D1D49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9B4D778E-499D-4744-AC87-93ABFC8BAD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15D52584-E231-3B47-A1E3-E875B68A82B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5" name="Platshållare för text 2">
            <a:extLst>
              <a:ext uri="{FF2B5EF4-FFF2-40B4-BE49-F238E27FC236}">
                <a16:creationId xmlns:a16="http://schemas.microsoft.com/office/drawing/2014/main" id="{F71CA44B-A516-DE48-8E00-49E05D1465C6}"/>
              </a:ext>
            </a:extLst>
          </p:cNvPr>
          <p:cNvSpPr>
            <a:spLocks noGrp="1"/>
          </p:cNvSpPr>
          <p:nvPr>
            <p:ph type="body" sz="quarter" idx="20" hasCustomPrompt="1"/>
          </p:nvPr>
        </p:nvSpPr>
        <p:spPr>
          <a:xfrm>
            <a:off x="576000" y="2098800"/>
            <a:ext cx="11039738" cy="4030663"/>
          </a:xfrm>
        </p:spPr>
        <p:txBody>
          <a:bodyPr numCol="3"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latshållare för datum 3">
            <a:extLst>
              <a:ext uri="{FF2B5EF4-FFF2-40B4-BE49-F238E27FC236}">
                <a16:creationId xmlns:a16="http://schemas.microsoft.com/office/drawing/2014/main" id="{40AB4C1F-C62F-D344-BB18-CBAD42AEB614}"/>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B92832F6-34E5-4AA2-9030-ABEAF4DB6A55}" type="datetime1">
              <a:rPr lang="en-US" smtClean="0"/>
              <a:t>11/1/2023</a:t>
            </a:fld>
            <a:endParaRPr lang="en-US"/>
          </a:p>
        </p:txBody>
      </p:sp>
      <p:sp>
        <p:nvSpPr>
          <p:cNvPr id="17" name="Platshållare för sidfot 4">
            <a:extLst>
              <a:ext uri="{FF2B5EF4-FFF2-40B4-BE49-F238E27FC236}">
                <a16:creationId xmlns:a16="http://schemas.microsoft.com/office/drawing/2014/main" id="{26C7CC11-AD44-1A47-A33A-8F1F09EB7CCB}"/>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18" name="Platshållare för bildnummer 5">
            <a:extLst>
              <a:ext uri="{FF2B5EF4-FFF2-40B4-BE49-F238E27FC236}">
                <a16:creationId xmlns:a16="http://schemas.microsoft.com/office/drawing/2014/main" id="{B3C84E5A-416A-9244-B02C-1271088F5D90}"/>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2580241096"/>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Text Three Columns Headline">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grpSp>
        <p:nvGrpSpPr>
          <p:cNvPr id="25" name="Grupp 32">
            <a:extLst>
              <a:ext uri="{FF2B5EF4-FFF2-40B4-BE49-F238E27FC236}">
                <a16:creationId xmlns:a16="http://schemas.microsoft.com/office/drawing/2014/main" id="{2736D314-A690-3242-95CE-3FFEB5A57FE0}"/>
              </a:ext>
            </a:extLst>
          </p:cNvPr>
          <p:cNvGrpSpPr/>
          <p:nvPr userDrawn="1"/>
        </p:nvGrpSpPr>
        <p:grpSpPr>
          <a:xfrm>
            <a:off x="576140" y="6451484"/>
            <a:ext cx="615478" cy="91194"/>
            <a:chOff x="576140" y="6451484"/>
            <a:chExt cx="615478" cy="91194"/>
          </a:xfrm>
          <a:solidFill>
            <a:schemeClr val="tx2"/>
          </a:solidFill>
        </p:grpSpPr>
        <p:sp>
          <p:nvSpPr>
            <p:cNvPr id="26" name="Bild 2">
              <a:extLst>
                <a:ext uri="{FF2B5EF4-FFF2-40B4-BE49-F238E27FC236}">
                  <a16:creationId xmlns:a16="http://schemas.microsoft.com/office/drawing/2014/main" id="{E24ADC73-F5C8-0A45-BFE4-70AF439A80E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BC1DE0D4-06B4-5E47-BEC8-1A2917F15F26}"/>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8370F551-DDA1-A844-8595-12C2C419AB0E}"/>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6C92C335-4855-474F-9E41-F65B6D1CFBAF}"/>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C04C9D88-37BA-B541-AAF6-5386D9A79F1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76233B80-D521-4242-854A-F2400F55B69B}"/>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50F0DE68-8B37-FD44-AD6E-0209E57CE88B}"/>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0" name="Text Placeholder 7">
            <a:extLst>
              <a:ext uri="{FF2B5EF4-FFF2-40B4-BE49-F238E27FC236}">
                <a16:creationId xmlns:a16="http://schemas.microsoft.com/office/drawing/2014/main" id="{F0C69720-3BB4-CE48-9B9B-3853CE7792ED}"/>
              </a:ext>
            </a:extLst>
          </p:cNvPr>
          <p:cNvSpPr>
            <a:spLocks noGrp="1"/>
          </p:cNvSpPr>
          <p:nvPr>
            <p:ph type="body" sz="quarter" idx="19" hasCustomPrompt="1"/>
          </p:nvPr>
        </p:nvSpPr>
        <p:spPr>
          <a:xfrm>
            <a:off x="576001"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1" name="Platshållare för text 2">
            <a:extLst>
              <a:ext uri="{FF2B5EF4-FFF2-40B4-BE49-F238E27FC236}">
                <a16:creationId xmlns:a16="http://schemas.microsoft.com/office/drawing/2014/main" id="{A52DBF44-87DD-6141-8462-4830C4051BB0}"/>
              </a:ext>
            </a:extLst>
          </p:cNvPr>
          <p:cNvSpPr>
            <a:spLocks noGrp="1"/>
          </p:cNvSpPr>
          <p:nvPr>
            <p:ph type="body" sz="quarter" idx="21" hasCustomPrompt="1"/>
          </p:nvPr>
        </p:nvSpPr>
        <p:spPr>
          <a:xfrm>
            <a:off x="576001"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3" name="Text Placeholder 7">
            <a:extLst>
              <a:ext uri="{FF2B5EF4-FFF2-40B4-BE49-F238E27FC236}">
                <a16:creationId xmlns:a16="http://schemas.microsoft.com/office/drawing/2014/main" id="{F70341C1-0EEE-554E-9131-0B4D0A42CC19}"/>
              </a:ext>
            </a:extLst>
          </p:cNvPr>
          <p:cNvSpPr>
            <a:spLocks noGrp="1"/>
          </p:cNvSpPr>
          <p:nvPr>
            <p:ph type="body" sz="quarter" idx="22" hasCustomPrompt="1"/>
          </p:nvPr>
        </p:nvSpPr>
        <p:spPr>
          <a:xfrm>
            <a:off x="4360821"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34" name="Platshållare för text 2">
            <a:extLst>
              <a:ext uri="{FF2B5EF4-FFF2-40B4-BE49-F238E27FC236}">
                <a16:creationId xmlns:a16="http://schemas.microsoft.com/office/drawing/2014/main" id="{4C7842FC-98C2-8449-93BB-EBDC67C9F18E}"/>
              </a:ext>
            </a:extLst>
          </p:cNvPr>
          <p:cNvSpPr>
            <a:spLocks noGrp="1"/>
          </p:cNvSpPr>
          <p:nvPr>
            <p:ph type="body" sz="quarter" idx="23" hasCustomPrompt="1"/>
          </p:nvPr>
        </p:nvSpPr>
        <p:spPr>
          <a:xfrm>
            <a:off x="4360821"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5" name="Text Placeholder 7">
            <a:extLst>
              <a:ext uri="{FF2B5EF4-FFF2-40B4-BE49-F238E27FC236}">
                <a16:creationId xmlns:a16="http://schemas.microsoft.com/office/drawing/2014/main" id="{5DB97D42-38E5-9240-82E9-87CB672A060D}"/>
              </a:ext>
            </a:extLst>
          </p:cNvPr>
          <p:cNvSpPr>
            <a:spLocks noGrp="1"/>
          </p:cNvSpPr>
          <p:nvPr>
            <p:ph type="body" sz="quarter" idx="24" hasCustomPrompt="1"/>
          </p:nvPr>
        </p:nvSpPr>
        <p:spPr>
          <a:xfrm>
            <a:off x="8137688"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36" name="Platshållare för text 2">
            <a:extLst>
              <a:ext uri="{FF2B5EF4-FFF2-40B4-BE49-F238E27FC236}">
                <a16:creationId xmlns:a16="http://schemas.microsoft.com/office/drawing/2014/main" id="{CB9E4808-1FD3-9D40-9DD0-EC81CD7AF001}"/>
              </a:ext>
            </a:extLst>
          </p:cNvPr>
          <p:cNvSpPr>
            <a:spLocks noGrp="1"/>
          </p:cNvSpPr>
          <p:nvPr>
            <p:ph type="body" sz="quarter" idx="25" hasCustomPrompt="1"/>
          </p:nvPr>
        </p:nvSpPr>
        <p:spPr>
          <a:xfrm>
            <a:off x="8137688"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Platshållare för datum 3">
            <a:extLst>
              <a:ext uri="{FF2B5EF4-FFF2-40B4-BE49-F238E27FC236}">
                <a16:creationId xmlns:a16="http://schemas.microsoft.com/office/drawing/2014/main" id="{D7C27E1A-AEB2-1C4C-855D-F16F336969F0}"/>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E5C154A2-9F70-4F40-B2BB-0159930E3188}" type="datetime1">
              <a:rPr lang="en-US" smtClean="0"/>
              <a:t>11/1/2023</a:t>
            </a:fld>
            <a:endParaRPr lang="en-US"/>
          </a:p>
        </p:txBody>
      </p:sp>
      <p:sp>
        <p:nvSpPr>
          <p:cNvPr id="23" name="Platshållare för sidfot 4">
            <a:extLst>
              <a:ext uri="{FF2B5EF4-FFF2-40B4-BE49-F238E27FC236}">
                <a16:creationId xmlns:a16="http://schemas.microsoft.com/office/drawing/2014/main" id="{54BAEB81-CDBB-614C-B2D9-67118DB486C9}"/>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24" name="Platshållare för bildnummer 5">
            <a:extLst>
              <a:ext uri="{FF2B5EF4-FFF2-40B4-BE49-F238E27FC236}">
                <a16:creationId xmlns:a16="http://schemas.microsoft.com/office/drawing/2014/main" id="{85620CA1-EBD3-C54E-B86E-309B5DC4F4E8}"/>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999010267"/>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Text Two Columns Imag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7253550"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grpSp>
        <p:nvGrpSpPr>
          <p:cNvPr id="24" name="Grupp 32">
            <a:extLst>
              <a:ext uri="{FF2B5EF4-FFF2-40B4-BE49-F238E27FC236}">
                <a16:creationId xmlns:a16="http://schemas.microsoft.com/office/drawing/2014/main" id="{FB010A54-7C48-EF4A-84C3-FAE5AA233226}"/>
              </a:ext>
            </a:extLst>
          </p:cNvPr>
          <p:cNvGrpSpPr/>
          <p:nvPr userDrawn="1"/>
        </p:nvGrpSpPr>
        <p:grpSpPr>
          <a:xfrm>
            <a:off x="576140" y="6451484"/>
            <a:ext cx="615478" cy="91194"/>
            <a:chOff x="576140" y="6451484"/>
            <a:chExt cx="615478" cy="91194"/>
          </a:xfrm>
          <a:solidFill>
            <a:schemeClr val="tx2"/>
          </a:solidFill>
        </p:grpSpPr>
        <p:sp>
          <p:nvSpPr>
            <p:cNvPr id="25" name="Bild 2">
              <a:extLst>
                <a:ext uri="{FF2B5EF4-FFF2-40B4-BE49-F238E27FC236}">
                  <a16:creationId xmlns:a16="http://schemas.microsoft.com/office/drawing/2014/main" id="{FDD108A7-FFF3-7442-ADE8-F67CC0DDDF6F}"/>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8B4FB10A-5C2B-5948-B590-9A84CE8E33A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D112D6AC-58A9-7143-83B4-24902E33E13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B6A9EED0-34BF-E94A-A1FC-36FE9ABCFF8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ED3A1B06-D911-E144-A785-746BAEFB2B8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2127C4C6-736B-6F44-A437-6BF2373D80E2}"/>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879F44AC-CA2A-664F-B1B5-1655176E5A0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text 2">
            <a:extLst>
              <a:ext uri="{FF2B5EF4-FFF2-40B4-BE49-F238E27FC236}">
                <a16:creationId xmlns:a16="http://schemas.microsoft.com/office/drawing/2014/main" id="{A6FCAC05-56E0-3641-AF25-73BF5DF0EE2E}"/>
              </a:ext>
            </a:extLst>
          </p:cNvPr>
          <p:cNvSpPr>
            <a:spLocks noGrp="1"/>
          </p:cNvSpPr>
          <p:nvPr>
            <p:ph type="body" sz="quarter" idx="20" hasCustomPrompt="1"/>
          </p:nvPr>
        </p:nvSpPr>
        <p:spPr>
          <a:xfrm>
            <a:off x="576000" y="2098800"/>
            <a:ext cx="7253550"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Platshållare för datum 3">
            <a:extLst>
              <a:ext uri="{FF2B5EF4-FFF2-40B4-BE49-F238E27FC236}">
                <a16:creationId xmlns:a16="http://schemas.microsoft.com/office/drawing/2014/main" id="{F0F55998-3D74-8741-A2E4-6EE4C909491E}"/>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9ADD35D6-8BE7-4D36-A268-CC28BF2083B7}" type="datetime1">
              <a:rPr lang="en-US" noProof="0" smtClean="0"/>
              <a:t>11/1/2023</a:t>
            </a:fld>
            <a:endParaRPr lang="en-US" noProof="0"/>
          </a:p>
        </p:txBody>
      </p:sp>
      <p:sp>
        <p:nvSpPr>
          <p:cNvPr id="18" name="Platshållare för sidfot 4">
            <a:extLst>
              <a:ext uri="{FF2B5EF4-FFF2-40B4-BE49-F238E27FC236}">
                <a16:creationId xmlns:a16="http://schemas.microsoft.com/office/drawing/2014/main" id="{8D4ABA0C-6528-1E45-AF48-FAF192C7F5EA}"/>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20" name="Platshållare för bildnummer 5">
            <a:extLst>
              <a:ext uri="{FF2B5EF4-FFF2-40B4-BE49-F238E27FC236}">
                <a16:creationId xmlns:a16="http://schemas.microsoft.com/office/drawing/2014/main" id="{078CB68B-435F-DC45-BF57-6C806435216E}"/>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22" name="Text Placeholder 4">
            <a:extLst>
              <a:ext uri="{FF2B5EF4-FFF2-40B4-BE49-F238E27FC236}">
                <a16:creationId xmlns:a16="http://schemas.microsoft.com/office/drawing/2014/main" id="{0F763C9D-544A-CE41-857C-BA3F78E072EA}"/>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04613828"/>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 Table Imag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7253550"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sp>
        <p:nvSpPr>
          <p:cNvPr id="26" name="Table Placeholder 5">
            <a:extLst>
              <a:ext uri="{FF2B5EF4-FFF2-40B4-BE49-F238E27FC236}">
                <a16:creationId xmlns:a16="http://schemas.microsoft.com/office/drawing/2014/main" id="{3BFD68C4-B563-2D4A-A4B9-CA7F194CE4D4}"/>
              </a:ext>
            </a:extLst>
          </p:cNvPr>
          <p:cNvSpPr>
            <a:spLocks noGrp="1"/>
          </p:cNvSpPr>
          <p:nvPr>
            <p:ph type="tbl" sz="quarter" idx="19" hasCustomPrompt="1"/>
          </p:nvPr>
        </p:nvSpPr>
        <p:spPr>
          <a:xfrm>
            <a:off x="576264" y="2098801"/>
            <a:ext cx="7261806" cy="4037362"/>
          </a:xfrm>
        </p:spPr>
        <p:txBody>
          <a:bodyPr/>
          <a:lstStyle>
            <a:lvl1pPr marL="12700" indent="0" algn="ctr">
              <a:buNone/>
              <a:defRPr sz="1300">
                <a:solidFill>
                  <a:schemeClr val="tx2"/>
                </a:solidFill>
              </a:defRPr>
            </a:lvl1pPr>
          </a:lstStyle>
          <a:p>
            <a:r>
              <a:rPr lang="en-US" noProof="0"/>
              <a:t>Click to add a table</a:t>
            </a:r>
          </a:p>
        </p:txBody>
      </p:sp>
      <p:grpSp>
        <p:nvGrpSpPr>
          <p:cNvPr id="27" name="Grupp 32">
            <a:extLst>
              <a:ext uri="{FF2B5EF4-FFF2-40B4-BE49-F238E27FC236}">
                <a16:creationId xmlns:a16="http://schemas.microsoft.com/office/drawing/2014/main" id="{CDF3AAB1-9B53-9142-B44F-6AFAA7DD1A49}"/>
              </a:ext>
            </a:extLst>
          </p:cNvPr>
          <p:cNvGrpSpPr/>
          <p:nvPr userDrawn="1"/>
        </p:nvGrpSpPr>
        <p:grpSpPr>
          <a:xfrm>
            <a:off x="576140" y="6451484"/>
            <a:ext cx="615478" cy="91194"/>
            <a:chOff x="576140" y="6451484"/>
            <a:chExt cx="615478" cy="91194"/>
          </a:xfrm>
          <a:solidFill>
            <a:schemeClr val="tx2"/>
          </a:solidFill>
        </p:grpSpPr>
        <p:sp>
          <p:nvSpPr>
            <p:cNvPr id="28" name="Bild 2">
              <a:extLst>
                <a:ext uri="{FF2B5EF4-FFF2-40B4-BE49-F238E27FC236}">
                  <a16:creationId xmlns:a16="http://schemas.microsoft.com/office/drawing/2014/main" id="{064C2612-9C8A-2E4D-896F-841A074FD97F}"/>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A6F81152-FC00-CC44-914D-BF003ADC226B}"/>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965AA447-8B48-C943-9B8F-852728B99677}"/>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934AFAF3-F792-D54A-A80B-6300A67845F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632C7458-9491-174C-A2C2-97FA4F0CF56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35BB9C56-848D-354C-82C4-33DB049EA1FE}"/>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A7B1DB06-ECDC-C34D-ADF0-DBB2AA1235E7}"/>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datum 3">
            <a:extLst>
              <a:ext uri="{FF2B5EF4-FFF2-40B4-BE49-F238E27FC236}">
                <a16:creationId xmlns:a16="http://schemas.microsoft.com/office/drawing/2014/main" id="{5320E7CA-8D70-E44F-8DFE-8C3981CAA84E}"/>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C882FCEF-5BB4-493E-B96F-F1F67C8A854E}" type="datetime1">
              <a:rPr lang="en-US" noProof="0" smtClean="0"/>
              <a:t>11/1/2023</a:t>
            </a:fld>
            <a:endParaRPr lang="en-US" noProof="0"/>
          </a:p>
        </p:txBody>
      </p:sp>
      <p:sp>
        <p:nvSpPr>
          <p:cNvPr id="17" name="Platshållare för sidfot 4">
            <a:extLst>
              <a:ext uri="{FF2B5EF4-FFF2-40B4-BE49-F238E27FC236}">
                <a16:creationId xmlns:a16="http://schemas.microsoft.com/office/drawing/2014/main" id="{8D2FF2F5-AC11-694F-A712-C42D5E30142A}"/>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90D11FAC-8BEF-B848-B09B-9581BA38EB7D}"/>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D83B98AF-7DED-4046-B050-23BFAD35D3DE}"/>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28654123"/>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Chart Imag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7253550"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576264" y="2098674"/>
            <a:ext cx="7253286" cy="4037487"/>
          </a:xfrm>
        </p:spPr>
        <p:txBody>
          <a:bodyPr/>
          <a:lstStyle>
            <a:lvl1pPr marL="12700" indent="0" algn="ctr">
              <a:buNone/>
              <a:defRPr sz="1300">
                <a:solidFill>
                  <a:schemeClr val="tx2"/>
                </a:solidFill>
              </a:defRPr>
            </a:lvl1pPr>
          </a:lstStyle>
          <a:p>
            <a:r>
              <a:rPr lang="en-US" noProof="0"/>
              <a:t>Click to add a chart</a:t>
            </a:r>
          </a:p>
        </p:txBody>
      </p:sp>
      <p:grpSp>
        <p:nvGrpSpPr>
          <p:cNvPr id="24" name="Grupp 32">
            <a:extLst>
              <a:ext uri="{FF2B5EF4-FFF2-40B4-BE49-F238E27FC236}">
                <a16:creationId xmlns:a16="http://schemas.microsoft.com/office/drawing/2014/main" id="{0166D808-3CB7-884E-95C7-EA74E9B4F048}"/>
              </a:ext>
            </a:extLst>
          </p:cNvPr>
          <p:cNvGrpSpPr/>
          <p:nvPr userDrawn="1"/>
        </p:nvGrpSpPr>
        <p:grpSpPr>
          <a:xfrm>
            <a:off x="576140" y="6451484"/>
            <a:ext cx="615478" cy="91194"/>
            <a:chOff x="576140" y="6451484"/>
            <a:chExt cx="615478" cy="91194"/>
          </a:xfrm>
          <a:solidFill>
            <a:schemeClr val="tx2"/>
          </a:solidFill>
        </p:grpSpPr>
        <p:sp>
          <p:nvSpPr>
            <p:cNvPr id="25" name="Bild 2">
              <a:extLst>
                <a:ext uri="{FF2B5EF4-FFF2-40B4-BE49-F238E27FC236}">
                  <a16:creationId xmlns:a16="http://schemas.microsoft.com/office/drawing/2014/main" id="{E6026D09-5D94-2047-81A1-BDED6F7CDCFD}"/>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09D15658-F29E-EE41-AE3A-1E438ADAB93C}"/>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9A3DDF5D-46F5-B344-8DAD-D5914874C3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3A509201-ECF6-B64B-A0A7-231FAA504AB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A8421D0D-3339-7742-993A-EC5B51EBE59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D82288C4-6EC8-9547-AC38-3AE9F31FE90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66082E5D-4163-2F49-AA1C-B2405257920A}"/>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datum 3">
            <a:extLst>
              <a:ext uri="{FF2B5EF4-FFF2-40B4-BE49-F238E27FC236}">
                <a16:creationId xmlns:a16="http://schemas.microsoft.com/office/drawing/2014/main" id="{8ADFF0B7-3A32-2C4B-BDF1-ECD3EE00D215}"/>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B89A5C6-016E-4784-B7B3-8BC8D62C6EB9}" type="datetime1">
              <a:rPr lang="en-US" noProof="0" smtClean="0"/>
              <a:t>11/1/2023</a:t>
            </a:fld>
            <a:endParaRPr lang="en-US" noProof="0"/>
          </a:p>
        </p:txBody>
      </p:sp>
      <p:sp>
        <p:nvSpPr>
          <p:cNvPr id="17" name="Platshållare för sidfot 4">
            <a:extLst>
              <a:ext uri="{FF2B5EF4-FFF2-40B4-BE49-F238E27FC236}">
                <a16:creationId xmlns:a16="http://schemas.microsoft.com/office/drawing/2014/main" id="{EEEE660B-80A1-2741-8402-38F2598A8CA3}"/>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921A1170-AB66-574D-93A2-A29BD448CFD2}"/>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1ADD6777-A5E1-8143-BB10-30B94A4DA550}"/>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416287141"/>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Text Charts Imag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7253550"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4359274" y="2098674"/>
            <a:ext cx="3470275" cy="1857091"/>
          </a:xfrm>
        </p:spPr>
        <p:txBody>
          <a:bodyPr/>
          <a:lstStyle>
            <a:lvl1pPr marL="12700" indent="0" algn="ctr">
              <a:buNone/>
              <a:defRPr sz="1300">
                <a:solidFill>
                  <a:schemeClr val="tx2"/>
                </a:solidFill>
              </a:defRPr>
            </a:lvl1pPr>
          </a:lstStyle>
          <a:p>
            <a:r>
              <a:rPr lang="en-US" noProof="0"/>
              <a:t>Click to add a chart</a:t>
            </a:r>
          </a:p>
        </p:txBody>
      </p:sp>
      <p:sp>
        <p:nvSpPr>
          <p:cNvPr id="25" name="Chart Placeholder 4">
            <a:extLst>
              <a:ext uri="{FF2B5EF4-FFF2-40B4-BE49-F238E27FC236}">
                <a16:creationId xmlns:a16="http://schemas.microsoft.com/office/drawing/2014/main" id="{DF83F763-96A7-2C49-9F33-C70E5E5252C4}"/>
              </a:ext>
            </a:extLst>
          </p:cNvPr>
          <p:cNvSpPr>
            <a:spLocks noGrp="1"/>
          </p:cNvSpPr>
          <p:nvPr>
            <p:ph type="chart" sz="quarter" idx="21" hasCustomPrompt="1"/>
          </p:nvPr>
        </p:nvSpPr>
        <p:spPr>
          <a:xfrm>
            <a:off x="4359274" y="4272247"/>
            <a:ext cx="3470275" cy="1857091"/>
          </a:xfrm>
        </p:spPr>
        <p:txBody>
          <a:bodyPr/>
          <a:lstStyle>
            <a:lvl1pPr marL="12700" indent="0" algn="ctr">
              <a:buNone/>
              <a:defRPr sz="1300">
                <a:solidFill>
                  <a:schemeClr val="tx2"/>
                </a:solidFill>
              </a:defRPr>
            </a:lvl1pPr>
          </a:lstStyle>
          <a:p>
            <a:r>
              <a:rPr lang="en-US" noProof="0"/>
              <a:t>Click to add a chart</a:t>
            </a:r>
          </a:p>
        </p:txBody>
      </p:sp>
      <p:grpSp>
        <p:nvGrpSpPr>
          <p:cNvPr id="26" name="Grupp 32">
            <a:extLst>
              <a:ext uri="{FF2B5EF4-FFF2-40B4-BE49-F238E27FC236}">
                <a16:creationId xmlns:a16="http://schemas.microsoft.com/office/drawing/2014/main" id="{F4809FD5-BC37-DF45-B113-51A6E08D9DB3}"/>
              </a:ext>
            </a:extLst>
          </p:cNvPr>
          <p:cNvGrpSpPr/>
          <p:nvPr userDrawn="1"/>
        </p:nvGrpSpPr>
        <p:grpSpPr>
          <a:xfrm>
            <a:off x="576140" y="6451484"/>
            <a:ext cx="615478" cy="91194"/>
            <a:chOff x="576140" y="6451484"/>
            <a:chExt cx="615478" cy="91194"/>
          </a:xfrm>
          <a:solidFill>
            <a:schemeClr val="tx2"/>
          </a:solidFill>
        </p:grpSpPr>
        <p:sp>
          <p:nvSpPr>
            <p:cNvPr id="27" name="Bild 2">
              <a:extLst>
                <a:ext uri="{FF2B5EF4-FFF2-40B4-BE49-F238E27FC236}">
                  <a16:creationId xmlns:a16="http://schemas.microsoft.com/office/drawing/2014/main" id="{2CD505AA-3C70-3041-AE10-654DE95DCF0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9491251B-C224-5749-AF60-131665804638}"/>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F2FE2244-A4A9-2A4A-BF24-12B0B6B0D1B8}"/>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EC2EE902-1226-E94C-824B-6551750B12F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5EF0DE2E-98D4-D640-B82D-505C1343D3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B04BCCC7-6148-5B49-B281-9BA4B7E90DD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0F0CAFBD-C94C-9D48-8626-E2A438B3A8DE}"/>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8" name="Platshållare för text 2">
            <a:extLst>
              <a:ext uri="{FF2B5EF4-FFF2-40B4-BE49-F238E27FC236}">
                <a16:creationId xmlns:a16="http://schemas.microsoft.com/office/drawing/2014/main" id="{C574831C-AC1A-BA45-BC5F-91DA4CC9D63F}"/>
              </a:ext>
            </a:extLst>
          </p:cNvPr>
          <p:cNvSpPr>
            <a:spLocks noGrp="1"/>
          </p:cNvSpPr>
          <p:nvPr>
            <p:ph type="body" sz="quarter" idx="22" hasCustomPrompt="1"/>
          </p:nvPr>
        </p:nvSpPr>
        <p:spPr>
          <a:xfrm>
            <a:off x="576000" y="2098800"/>
            <a:ext cx="3484823"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Platshållare för datum 3">
            <a:extLst>
              <a:ext uri="{FF2B5EF4-FFF2-40B4-BE49-F238E27FC236}">
                <a16:creationId xmlns:a16="http://schemas.microsoft.com/office/drawing/2014/main" id="{40FE4A6B-BB8F-8044-A2CA-73AE60999574}"/>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53D4BC1C-9BC1-45BB-921D-67E6F2051A5F}" type="datetime1">
              <a:rPr lang="en-US" noProof="0" smtClean="0"/>
              <a:t>11/1/2023</a:t>
            </a:fld>
            <a:endParaRPr lang="en-US" noProof="0"/>
          </a:p>
        </p:txBody>
      </p:sp>
      <p:sp>
        <p:nvSpPr>
          <p:cNvPr id="21" name="Platshållare för sidfot 4">
            <a:extLst>
              <a:ext uri="{FF2B5EF4-FFF2-40B4-BE49-F238E27FC236}">
                <a16:creationId xmlns:a16="http://schemas.microsoft.com/office/drawing/2014/main" id="{EEE175E7-97F8-F642-AD80-BD4B720251F4}"/>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24" name="Platshållare för bildnummer 5">
            <a:extLst>
              <a:ext uri="{FF2B5EF4-FFF2-40B4-BE49-F238E27FC236}">
                <a16:creationId xmlns:a16="http://schemas.microsoft.com/office/drawing/2014/main" id="{5E7D3B9D-5814-FD4A-AFF7-87FA1316A623}"/>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35" name="Text Placeholder 4">
            <a:extLst>
              <a:ext uri="{FF2B5EF4-FFF2-40B4-BE49-F238E27FC236}">
                <a16:creationId xmlns:a16="http://schemas.microsoft.com/office/drawing/2014/main" id="{9C805E04-BA5F-EB4F-95AF-95CA6B8E7B39}"/>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98659591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Title Start Graphic/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758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3" name="Rectangle 2">
            <a:extLst>
              <a:ext uri="{FF2B5EF4-FFF2-40B4-BE49-F238E27FC236}">
                <a16:creationId xmlns:a16="http://schemas.microsoft.com/office/drawing/2014/main" id="{7ABD8C07-48FE-CE42-BAC1-8E71230A09D6}"/>
              </a:ext>
            </a:extLst>
          </p:cNvPr>
          <p:cNvSpPr/>
          <p:nvPr userDrawn="1"/>
        </p:nvSpPr>
        <p:spPr>
          <a:xfrm>
            <a:off x="0" y="0"/>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85947" y="1022400"/>
            <a:ext cx="5367178" cy="1069200"/>
          </a:xfrm>
          <a:prstGeom prst="rect">
            <a:avLst/>
          </a:prstGeom>
        </p:spPr>
        <p:txBody>
          <a:bodyPr anchor="b">
            <a:noAutofit/>
          </a:bodyPr>
          <a:lstStyle>
            <a:lvl1pPr marL="0" indent="0">
              <a:lnSpc>
                <a:spcPct val="85000"/>
              </a:lnSpc>
              <a:spcBef>
                <a:spcPts val="0"/>
              </a:spcBef>
              <a:buNone/>
              <a:defRPr sz="3600" spc="40" baseline="0">
                <a:solidFill>
                  <a:schemeClr val="tx2"/>
                </a:solidFill>
                <a:latin typeface="+mj-lt"/>
              </a:defRPr>
            </a:lvl1pPr>
          </a:lstStyle>
          <a:p>
            <a:pPr lvl="0"/>
            <a:r>
              <a:rPr lang="en-GB" dirty="0"/>
              <a:t>Click to add a headline </a:t>
            </a:r>
            <a:br>
              <a:rPr lang="en-GB" dirty="0"/>
            </a:br>
            <a:r>
              <a:rPr lang="en-GB" dirty="0"/>
              <a:t>of maximum two lines</a:t>
            </a:r>
          </a:p>
        </p:txBody>
      </p:sp>
      <p:sp>
        <p:nvSpPr>
          <p:cNvPr id="20" name="Text Placeholder 18">
            <a:extLst>
              <a:ext uri="{FF2B5EF4-FFF2-40B4-BE49-F238E27FC236}">
                <a16:creationId xmlns:a16="http://schemas.microsoft.com/office/drawing/2014/main" id="{01A6A6FB-6FA2-F143-90DF-C849DA3D5701}"/>
              </a:ext>
            </a:extLst>
          </p:cNvPr>
          <p:cNvSpPr>
            <a:spLocks noGrp="1"/>
          </p:cNvSpPr>
          <p:nvPr>
            <p:ph type="body" sz="quarter" idx="15" hasCustomPrompt="1"/>
          </p:nvPr>
        </p:nvSpPr>
        <p:spPr>
          <a:xfrm>
            <a:off x="588222" y="2228854"/>
            <a:ext cx="3755854" cy="771519"/>
          </a:xfrm>
          <a:prstGeom prst="rect">
            <a:avLst/>
          </a:prstGeom>
        </p:spPr>
        <p:txBody>
          <a:bodyPr anchor="t">
            <a:noAutofit/>
          </a:bodyPr>
          <a:lstStyle>
            <a:lvl1pPr marL="0" indent="0">
              <a:lnSpc>
                <a:spcPct val="100000"/>
              </a:lnSpc>
              <a:spcBef>
                <a:spcPts val="0"/>
              </a:spcBef>
              <a:buNone/>
              <a:defRPr sz="1400" spc="70" baseline="0">
                <a:solidFill>
                  <a:schemeClr val="tx2"/>
                </a:solidFill>
              </a:defRPr>
            </a:lvl1pPr>
          </a:lstStyle>
          <a:p>
            <a:pPr lvl="0"/>
            <a:r>
              <a:rPr lang="en-GB"/>
              <a:t>Click to add name </a:t>
            </a:r>
            <a:br>
              <a:rPr lang="en-GB"/>
            </a:br>
            <a:r>
              <a:rPr lang="en-GB"/>
              <a:t>Title, Business Unit</a:t>
            </a:r>
          </a:p>
          <a:p>
            <a:pPr lvl="0"/>
            <a:r>
              <a:rPr lang="en-GB"/>
              <a:t>And Date</a:t>
            </a:r>
          </a:p>
        </p:txBody>
      </p:sp>
      <p:grpSp>
        <p:nvGrpSpPr>
          <p:cNvPr id="61" name="Grupp 12">
            <a:extLst>
              <a:ext uri="{FF2B5EF4-FFF2-40B4-BE49-F238E27FC236}">
                <a16:creationId xmlns:a16="http://schemas.microsoft.com/office/drawing/2014/main" id="{11C1EE99-A90A-8E42-9EF6-ABC92B42C61F}"/>
              </a:ext>
            </a:extLst>
          </p:cNvPr>
          <p:cNvGrpSpPr/>
          <p:nvPr userDrawn="1"/>
        </p:nvGrpSpPr>
        <p:grpSpPr>
          <a:xfrm>
            <a:off x="576139" y="356679"/>
            <a:ext cx="1060123" cy="157076"/>
            <a:chOff x="576140" y="6451484"/>
            <a:chExt cx="615478" cy="91194"/>
          </a:xfrm>
          <a:solidFill>
            <a:schemeClr val="tx2"/>
          </a:solidFill>
        </p:grpSpPr>
        <p:sp>
          <p:nvSpPr>
            <p:cNvPr id="62" name="Bild 2">
              <a:extLst>
                <a:ext uri="{FF2B5EF4-FFF2-40B4-BE49-F238E27FC236}">
                  <a16:creationId xmlns:a16="http://schemas.microsoft.com/office/drawing/2014/main" id="{34B0D9DD-7C10-5F44-BF90-E4725CC02B7F}"/>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sv-SE">
                <a:solidFill>
                  <a:schemeClr val="tx2"/>
                </a:solidFill>
              </a:endParaRPr>
            </a:p>
          </p:txBody>
        </p:sp>
        <p:sp>
          <p:nvSpPr>
            <p:cNvPr id="63" name="Bild 2">
              <a:extLst>
                <a:ext uri="{FF2B5EF4-FFF2-40B4-BE49-F238E27FC236}">
                  <a16:creationId xmlns:a16="http://schemas.microsoft.com/office/drawing/2014/main" id="{9333FAAF-3916-C84B-A4CC-472A10E5FD21}"/>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sv-SE">
                <a:solidFill>
                  <a:schemeClr val="tx2"/>
                </a:solidFill>
              </a:endParaRPr>
            </a:p>
          </p:txBody>
        </p:sp>
        <p:sp>
          <p:nvSpPr>
            <p:cNvPr id="64" name="Bild 2">
              <a:extLst>
                <a:ext uri="{FF2B5EF4-FFF2-40B4-BE49-F238E27FC236}">
                  <a16:creationId xmlns:a16="http://schemas.microsoft.com/office/drawing/2014/main" id="{E3DA2BDA-82F6-C640-9E27-537DA60E22D2}"/>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65" name="Bild 2">
              <a:extLst>
                <a:ext uri="{FF2B5EF4-FFF2-40B4-BE49-F238E27FC236}">
                  <a16:creationId xmlns:a16="http://schemas.microsoft.com/office/drawing/2014/main" id="{E456F497-D9F5-4E4F-9AF3-A1A4A44D26D4}"/>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sp>
          <p:nvSpPr>
            <p:cNvPr id="66" name="Bild 2">
              <a:extLst>
                <a:ext uri="{FF2B5EF4-FFF2-40B4-BE49-F238E27FC236}">
                  <a16:creationId xmlns:a16="http://schemas.microsoft.com/office/drawing/2014/main" id="{B670A634-218B-6946-94C9-5A68C0A0443C}"/>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sv-SE">
                <a:solidFill>
                  <a:schemeClr val="tx2"/>
                </a:solidFill>
              </a:endParaRPr>
            </a:p>
          </p:txBody>
        </p:sp>
        <p:sp>
          <p:nvSpPr>
            <p:cNvPr id="67" name="Bild 2">
              <a:extLst>
                <a:ext uri="{FF2B5EF4-FFF2-40B4-BE49-F238E27FC236}">
                  <a16:creationId xmlns:a16="http://schemas.microsoft.com/office/drawing/2014/main" id="{FC7D2288-841A-C443-80D1-8E0BE90E0171}"/>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68" name="Bild 2">
              <a:extLst>
                <a:ext uri="{FF2B5EF4-FFF2-40B4-BE49-F238E27FC236}">
                  <a16:creationId xmlns:a16="http://schemas.microsoft.com/office/drawing/2014/main" id="{FA828F5C-03A9-8649-9199-869425B6C0B6}"/>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grpSp>
      <p:pic>
        <p:nvPicPr>
          <p:cNvPr id="4" name="Picture 3">
            <a:extLst>
              <a:ext uri="{FF2B5EF4-FFF2-40B4-BE49-F238E27FC236}">
                <a16:creationId xmlns:a16="http://schemas.microsoft.com/office/drawing/2014/main" id="{5C1AE774-2D36-A94D-AAEE-5D6B6412685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3429892"/>
            <a:ext cx="6094413" cy="3428107"/>
          </a:xfrm>
          <a:prstGeom prst="rect">
            <a:avLst/>
          </a:prstGeom>
        </p:spPr>
      </p:pic>
      <p:sp>
        <p:nvSpPr>
          <p:cNvPr id="16" name="Text Placeholder 4">
            <a:extLst>
              <a:ext uri="{FF2B5EF4-FFF2-40B4-BE49-F238E27FC236}">
                <a16:creationId xmlns:a16="http://schemas.microsoft.com/office/drawing/2014/main" id="{2E3C9CEE-5237-A84E-AB7E-0657C69C9212}"/>
              </a:ext>
            </a:extLst>
          </p:cNvPr>
          <p:cNvSpPr>
            <a:spLocks noGrp="1"/>
          </p:cNvSpPr>
          <p:nvPr>
            <p:ph type="body" sz="quarter" idx="19"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8785489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Text Chart">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6249988" y="2098674"/>
            <a:ext cx="5354003" cy="4030663"/>
          </a:xfrm>
        </p:spPr>
        <p:txBody>
          <a:bodyPr/>
          <a:lstStyle>
            <a:lvl1pPr marL="12700" indent="0" algn="ctr">
              <a:buNone/>
              <a:defRPr sz="1300">
                <a:solidFill>
                  <a:schemeClr val="tx2"/>
                </a:solidFill>
              </a:defRPr>
            </a:lvl1pPr>
          </a:lstStyle>
          <a:p>
            <a:r>
              <a:rPr lang="en-US" noProof="0"/>
              <a:t>Click to add a chart</a:t>
            </a:r>
          </a:p>
        </p:txBody>
      </p:sp>
      <p:grpSp>
        <p:nvGrpSpPr>
          <p:cNvPr id="26" name="Grupp 32">
            <a:extLst>
              <a:ext uri="{FF2B5EF4-FFF2-40B4-BE49-F238E27FC236}">
                <a16:creationId xmlns:a16="http://schemas.microsoft.com/office/drawing/2014/main" id="{F4809FD5-BC37-DF45-B113-51A6E08D9DB3}"/>
              </a:ext>
            </a:extLst>
          </p:cNvPr>
          <p:cNvGrpSpPr/>
          <p:nvPr userDrawn="1"/>
        </p:nvGrpSpPr>
        <p:grpSpPr>
          <a:xfrm>
            <a:off x="576140" y="6451484"/>
            <a:ext cx="615478" cy="91194"/>
            <a:chOff x="576140" y="6451484"/>
            <a:chExt cx="615478" cy="91194"/>
          </a:xfrm>
          <a:solidFill>
            <a:schemeClr val="tx2"/>
          </a:solidFill>
        </p:grpSpPr>
        <p:sp>
          <p:nvSpPr>
            <p:cNvPr id="27" name="Bild 2">
              <a:extLst>
                <a:ext uri="{FF2B5EF4-FFF2-40B4-BE49-F238E27FC236}">
                  <a16:creationId xmlns:a16="http://schemas.microsoft.com/office/drawing/2014/main" id="{2CD505AA-3C70-3041-AE10-654DE95DCF0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9491251B-C224-5749-AF60-131665804638}"/>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F2FE2244-A4A9-2A4A-BF24-12B0B6B0D1B8}"/>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EC2EE902-1226-E94C-824B-6551750B12F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5EF0DE2E-98D4-D640-B82D-505C1343D3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B04BCCC7-6148-5B49-B281-9BA4B7E90DD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0F0CAFBD-C94C-9D48-8626-E2A438B3A8DE}"/>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8" name="Platshållare för text 2">
            <a:extLst>
              <a:ext uri="{FF2B5EF4-FFF2-40B4-BE49-F238E27FC236}">
                <a16:creationId xmlns:a16="http://schemas.microsoft.com/office/drawing/2014/main" id="{C574831C-AC1A-BA45-BC5F-91DA4CC9D63F}"/>
              </a:ext>
            </a:extLst>
          </p:cNvPr>
          <p:cNvSpPr>
            <a:spLocks noGrp="1"/>
          </p:cNvSpPr>
          <p:nvPr>
            <p:ph type="body" sz="quarter" idx="22" hasCustomPrompt="1"/>
          </p:nvPr>
        </p:nvSpPr>
        <p:spPr>
          <a:xfrm>
            <a:off x="576000" y="2098800"/>
            <a:ext cx="5377125"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Platshållare för datum 3">
            <a:extLst>
              <a:ext uri="{FF2B5EF4-FFF2-40B4-BE49-F238E27FC236}">
                <a16:creationId xmlns:a16="http://schemas.microsoft.com/office/drawing/2014/main" id="{40FE4A6B-BB8F-8044-A2CA-73AE60999574}"/>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BBE558C1-F7AF-477C-A2D4-2734970911A0}" type="datetime1">
              <a:rPr lang="en-US" noProof="0" smtClean="0"/>
              <a:t>11/1/2023</a:t>
            </a:fld>
            <a:endParaRPr lang="en-US" noProof="0"/>
          </a:p>
        </p:txBody>
      </p:sp>
      <p:sp>
        <p:nvSpPr>
          <p:cNvPr id="21" name="Platshållare för sidfot 4">
            <a:extLst>
              <a:ext uri="{FF2B5EF4-FFF2-40B4-BE49-F238E27FC236}">
                <a16:creationId xmlns:a16="http://schemas.microsoft.com/office/drawing/2014/main" id="{EEE175E7-97F8-F642-AD80-BD4B720251F4}"/>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24" name="Platshållare för bildnummer 5">
            <a:extLst>
              <a:ext uri="{FF2B5EF4-FFF2-40B4-BE49-F238E27FC236}">
                <a16:creationId xmlns:a16="http://schemas.microsoft.com/office/drawing/2014/main" id="{5E7D3B9D-5814-FD4A-AFF7-87FA1316A623}"/>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1192814272"/>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Three Columns Text Chart">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sp>
        <p:nvSpPr>
          <p:cNvPr id="25" name="Chart Placeholder 4">
            <a:extLst>
              <a:ext uri="{FF2B5EF4-FFF2-40B4-BE49-F238E27FC236}">
                <a16:creationId xmlns:a16="http://schemas.microsoft.com/office/drawing/2014/main" id="{6FF95646-AD27-8440-B493-6779ED154EB6}"/>
              </a:ext>
            </a:extLst>
          </p:cNvPr>
          <p:cNvSpPr>
            <a:spLocks noGrp="1"/>
          </p:cNvSpPr>
          <p:nvPr>
            <p:ph type="chart" sz="quarter" idx="21" hasCustomPrompt="1"/>
          </p:nvPr>
        </p:nvSpPr>
        <p:spPr>
          <a:xfrm>
            <a:off x="8145463" y="2098674"/>
            <a:ext cx="3470275" cy="1857091"/>
          </a:xfrm>
        </p:spPr>
        <p:txBody>
          <a:bodyPr/>
          <a:lstStyle>
            <a:lvl1pPr marL="12700" indent="0" algn="ctr">
              <a:buNone/>
              <a:defRPr sz="1300">
                <a:solidFill>
                  <a:schemeClr val="tx2"/>
                </a:solidFill>
              </a:defRPr>
            </a:lvl1pPr>
          </a:lstStyle>
          <a:p>
            <a:r>
              <a:rPr lang="en-US" noProof="0"/>
              <a:t>Click to add a chart</a:t>
            </a:r>
          </a:p>
        </p:txBody>
      </p:sp>
      <p:sp>
        <p:nvSpPr>
          <p:cNvPr id="26" name="Chart Placeholder 4">
            <a:extLst>
              <a:ext uri="{FF2B5EF4-FFF2-40B4-BE49-F238E27FC236}">
                <a16:creationId xmlns:a16="http://schemas.microsoft.com/office/drawing/2014/main" id="{4B757421-2FBC-E741-A174-86B2942AFE57}"/>
              </a:ext>
            </a:extLst>
          </p:cNvPr>
          <p:cNvSpPr>
            <a:spLocks noGrp="1"/>
          </p:cNvSpPr>
          <p:nvPr>
            <p:ph type="chart" sz="quarter" idx="22" hasCustomPrompt="1"/>
          </p:nvPr>
        </p:nvSpPr>
        <p:spPr>
          <a:xfrm>
            <a:off x="8145463" y="4272247"/>
            <a:ext cx="3470275" cy="1857091"/>
          </a:xfrm>
        </p:spPr>
        <p:txBody>
          <a:bodyPr/>
          <a:lstStyle>
            <a:lvl1pPr marL="12700" indent="0" algn="ctr">
              <a:buNone/>
              <a:defRPr sz="1300">
                <a:solidFill>
                  <a:schemeClr val="tx2"/>
                </a:solidFill>
              </a:defRPr>
            </a:lvl1pPr>
          </a:lstStyle>
          <a:p>
            <a:r>
              <a:rPr lang="en-US" noProof="0"/>
              <a:t>Click to add a chart</a:t>
            </a:r>
          </a:p>
        </p:txBody>
      </p:sp>
      <p:grpSp>
        <p:nvGrpSpPr>
          <p:cNvPr id="27" name="Grupp 32">
            <a:extLst>
              <a:ext uri="{FF2B5EF4-FFF2-40B4-BE49-F238E27FC236}">
                <a16:creationId xmlns:a16="http://schemas.microsoft.com/office/drawing/2014/main" id="{2299BFFD-8D76-2B49-B434-B9878C23FBAE}"/>
              </a:ext>
            </a:extLst>
          </p:cNvPr>
          <p:cNvGrpSpPr/>
          <p:nvPr userDrawn="1"/>
        </p:nvGrpSpPr>
        <p:grpSpPr>
          <a:xfrm>
            <a:off x="576140" y="6451484"/>
            <a:ext cx="615478" cy="91194"/>
            <a:chOff x="576140" y="6451484"/>
            <a:chExt cx="615478" cy="91194"/>
          </a:xfrm>
          <a:solidFill>
            <a:schemeClr val="tx2"/>
          </a:solidFill>
        </p:grpSpPr>
        <p:sp>
          <p:nvSpPr>
            <p:cNvPr id="28" name="Bild 2">
              <a:extLst>
                <a:ext uri="{FF2B5EF4-FFF2-40B4-BE49-F238E27FC236}">
                  <a16:creationId xmlns:a16="http://schemas.microsoft.com/office/drawing/2014/main" id="{CEBE1B54-B6FB-B740-8B56-3B8AAEC1EC85}"/>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EEA3F33C-E9E0-DD4C-BBEA-2C0B6114522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5B11D485-06F7-1548-89B6-C85BD0EC567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FE6DB499-8CE4-9741-9C94-C79478F18068}"/>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2EBABB22-6F1D-4643-9B74-FD71012EB63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1E29AA56-2A38-0144-924A-9E08CF1CF399}"/>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D3C5CA02-6820-9A46-994C-6A82C4DDA75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8" name="Text Placeholder 7">
            <a:extLst>
              <a:ext uri="{FF2B5EF4-FFF2-40B4-BE49-F238E27FC236}">
                <a16:creationId xmlns:a16="http://schemas.microsoft.com/office/drawing/2014/main" id="{CCF0A91F-C49F-E041-B82D-A6DDF705351D}"/>
              </a:ext>
            </a:extLst>
          </p:cNvPr>
          <p:cNvSpPr>
            <a:spLocks noGrp="1"/>
          </p:cNvSpPr>
          <p:nvPr>
            <p:ph type="body" sz="quarter" idx="19" hasCustomPrompt="1"/>
          </p:nvPr>
        </p:nvSpPr>
        <p:spPr>
          <a:xfrm>
            <a:off x="576001"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0" name="Platshållare för text 2">
            <a:extLst>
              <a:ext uri="{FF2B5EF4-FFF2-40B4-BE49-F238E27FC236}">
                <a16:creationId xmlns:a16="http://schemas.microsoft.com/office/drawing/2014/main" id="{C66EF980-A725-2949-B97A-749850FCDB51}"/>
              </a:ext>
            </a:extLst>
          </p:cNvPr>
          <p:cNvSpPr>
            <a:spLocks noGrp="1"/>
          </p:cNvSpPr>
          <p:nvPr>
            <p:ph type="body" sz="quarter" idx="23" hasCustomPrompt="1"/>
          </p:nvPr>
        </p:nvSpPr>
        <p:spPr>
          <a:xfrm>
            <a:off x="576001"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7">
            <a:extLst>
              <a:ext uri="{FF2B5EF4-FFF2-40B4-BE49-F238E27FC236}">
                <a16:creationId xmlns:a16="http://schemas.microsoft.com/office/drawing/2014/main" id="{C002EC38-A2CD-9441-A63D-21CB0A77532B}"/>
              </a:ext>
            </a:extLst>
          </p:cNvPr>
          <p:cNvSpPr>
            <a:spLocks noGrp="1"/>
          </p:cNvSpPr>
          <p:nvPr>
            <p:ph type="body" sz="quarter" idx="24" hasCustomPrompt="1"/>
          </p:nvPr>
        </p:nvSpPr>
        <p:spPr>
          <a:xfrm>
            <a:off x="4360822"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4" name="Platshållare för text 2">
            <a:extLst>
              <a:ext uri="{FF2B5EF4-FFF2-40B4-BE49-F238E27FC236}">
                <a16:creationId xmlns:a16="http://schemas.microsoft.com/office/drawing/2014/main" id="{68F64643-0934-E544-8EF3-DDF27D23990C}"/>
              </a:ext>
            </a:extLst>
          </p:cNvPr>
          <p:cNvSpPr>
            <a:spLocks noGrp="1"/>
          </p:cNvSpPr>
          <p:nvPr>
            <p:ph type="body" sz="quarter" idx="25" hasCustomPrompt="1"/>
          </p:nvPr>
        </p:nvSpPr>
        <p:spPr>
          <a:xfrm>
            <a:off x="4360822"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Platshållare för datum 3">
            <a:extLst>
              <a:ext uri="{FF2B5EF4-FFF2-40B4-BE49-F238E27FC236}">
                <a16:creationId xmlns:a16="http://schemas.microsoft.com/office/drawing/2014/main" id="{25B9466E-1561-3A43-B7CC-D96C48832D30}"/>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11397DBA-07BA-41D9-B41A-DE95371A018D}" type="datetime1">
              <a:rPr lang="en-US" noProof="0" smtClean="0"/>
              <a:t>11/1/2023</a:t>
            </a:fld>
            <a:endParaRPr lang="en-US" noProof="0"/>
          </a:p>
        </p:txBody>
      </p:sp>
      <p:sp>
        <p:nvSpPr>
          <p:cNvPr id="23" name="Platshållare för sidfot 4">
            <a:extLst>
              <a:ext uri="{FF2B5EF4-FFF2-40B4-BE49-F238E27FC236}">
                <a16:creationId xmlns:a16="http://schemas.microsoft.com/office/drawing/2014/main" id="{2F9F85FB-38B2-B648-A272-CF8F228D6995}"/>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35" name="Platshållare för bildnummer 5">
            <a:extLst>
              <a:ext uri="{FF2B5EF4-FFF2-40B4-BE49-F238E27FC236}">
                <a16:creationId xmlns:a16="http://schemas.microsoft.com/office/drawing/2014/main" id="{E6C74B85-D904-6740-B752-391BA959E1A2}"/>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90469665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hart ">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576264" y="2098674"/>
            <a:ext cx="11039474" cy="4037487"/>
          </a:xfrm>
        </p:spPr>
        <p:txBody>
          <a:bodyPr/>
          <a:lstStyle>
            <a:lvl1pPr marL="12700" indent="0" algn="ctr">
              <a:buNone/>
              <a:defRPr sz="1300">
                <a:solidFill>
                  <a:schemeClr val="tx2"/>
                </a:solidFill>
              </a:defRPr>
            </a:lvl1pPr>
          </a:lstStyle>
          <a:p>
            <a:r>
              <a:rPr lang="en-US" noProof="0"/>
              <a:t>Click to add a chart</a:t>
            </a:r>
          </a:p>
        </p:txBody>
      </p:sp>
      <p:grpSp>
        <p:nvGrpSpPr>
          <p:cNvPr id="24" name="Grupp 32">
            <a:extLst>
              <a:ext uri="{FF2B5EF4-FFF2-40B4-BE49-F238E27FC236}">
                <a16:creationId xmlns:a16="http://schemas.microsoft.com/office/drawing/2014/main" id="{0166D808-3CB7-884E-95C7-EA74E9B4F048}"/>
              </a:ext>
            </a:extLst>
          </p:cNvPr>
          <p:cNvGrpSpPr/>
          <p:nvPr userDrawn="1"/>
        </p:nvGrpSpPr>
        <p:grpSpPr>
          <a:xfrm>
            <a:off x="576140" y="6451484"/>
            <a:ext cx="615478" cy="91194"/>
            <a:chOff x="576140" y="6451484"/>
            <a:chExt cx="615478" cy="91194"/>
          </a:xfrm>
          <a:solidFill>
            <a:schemeClr val="tx2"/>
          </a:solidFill>
        </p:grpSpPr>
        <p:sp>
          <p:nvSpPr>
            <p:cNvPr id="25" name="Bild 2">
              <a:extLst>
                <a:ext uri="{FF2B5EF4-FFF2-40B4-BE49-F238E27FC236}">
                  <a16:creationId xmlns:a16="http://schemas.microsoft.com/office/drawing/2014/main" id="{E6026D09-5D94-2047-81A1-BDED6F7CDCFD}"/>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09D15658-F29E-EE41-AE3A-1E438ADAB93C}"/>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9A3DDF5D-46F5-B344-8DAD-D5914874C3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3A509201-ECF6-B64B-A0A7-231FAA504AB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A8421D0D-3339-7742-993A-EC5B51EBE59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D82288C4-6EC8-9547-AC38-3AE9F31FE90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66082E5D-4163-2F49-AA1C-B2405257920A}"/>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datum 3">
            <a:extLst>
              <a:ext uri="{FF2B5EF4-FFF2-40B4-BE49-F238E27FC236}">
                <a16:creationId xmlns:a16="http://schemas.microsoft.com/office/drawing/2014/main" id="{8ADFF0B7-3A32-2C4B-BDF1-ECD3EE00D215}"/>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830F8627-1AAB-4A4B-91CE-544A97F7ABE2}" type="datetime1">
              <a:rPr lang="en-US" smtClean="0"/>
              <a:t>11/1/2023</a:t>
            </a:fld>
            <a:endParaRPr lang="en-US"/>
          </a:p>
        </p:txBody>
      </p:sp>
      <p:sp>
        <p:nvSpPr>
          <p:cNvPr id="17" name="Platshållare för sidfot 4">
            <a:extLst>
              <a:ext uri="{FF2B5EF4-FFF2-40B4-BE49-F238E27FC236}">
                <a16:creationId xmlns:a16="http://schemas.microsoft.com/office/drawing/2014/main" id="{EEEE660B-80A1-2741-8402-38F2598A8CA3}"/>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18" name="Platshållare för bildnummer 5">
            <a:extLst>
              <a:ext uri="{FF2B5EF4-FFF2-40B4-BE49-F238E27FC236}">
                <a16:creationId xmlns:a16="http://schemas.microsoft.com/office/drawing/2014/main" id="{921A1170-AB66-574D-93A2-A29BD448CFD2}"/>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2285851876"/>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 Full Table">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5999" y="720001"/>
            <a:ext cx="11027991"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two lines</a:t>
            </a:r>
          </a:p>
          <a:p>
            <a:pPr lvl="0"/>
            <a:endParaRPr lang="en-US" noProof="0" dirty="0"/>
          </a:p>
        </p:txBody>
      </p:sp>
      <p:grpSp>
        <p:nvGrpSpPr>
          <p:cNvPr id="13" name="Grupp 32">
            <a:extLst>
              <a:ext uri="{FF2B5EF4-FFF2-40B4-BE49-F238E27FC236}">
                <a16:creationId xmlns:a16="http://schemas.microsoft.com/office/drawing/2014/main" id="{6052E143-9E4E-A74A-B270-30FD881BF636}"/>
              </a:ext>
            </a:extLst>
          </p:cNvPr>
          <p:cNvGrpSpPr/>
          <p:nvPr userDrawn="1"/>
        </p:nvGrpSpPr>
        <p:grpSpPr>
          <a:xfrm>
            <a:off x="576140" y="6451484"/>
            <a:ext cx="615478" cy="91194"/>
            <a:chOff x="576140" y="6451484"/>
            <a:chExt cx="615478" cy="91194"/>
          </a:xfrm>
          <a:solidFill>
            <a:schemeClr val="tx2"/>
          </a:solidFill>
        </p:grpSpPr>
        <p:sp>
          <p:nvSpPr>
            <p:cNvPr id="14" name="Bild 2">
              <a:extLst>
                <a:ext uri="{FF2B5EF4-FFF2-40B4-BE49-F238E27FC236}">
                  <a16:creationId xmlns:a16="http://schemas.microsoft.com/office/drawing/2014/main" id="{8EFB6FE1-71C4-C84E-8225-1ED321BF2576}"/>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5" name="Bild 2">
              <a:extLst>
                <a:ext uri="{FF2B5EF4-FFF2-40B4-BE49-F238E27FC236}">
                  <a16:creationId xmlns:a16="http://schemas.microsoft.com/office/drawing/2014/main" id="{C75C6BBC-8CE7-1447-9C1A-5CF2E31B8E86}"/>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6" name="Bild 2">
              <a:extLst>
                <a:ext uri="{FF2B5EF4-FFF2-40B4-BE49-F238E27FC236}">
                  <a16:creationId xmlns:a16="http://schemas.microsoft.com/office/drawing/2014/main" id="{C67E8788-BA40-7B4E-8CE0-D014697FF57F}"/>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7" name="Bild 2">
              <a:extLst>
                <a:ext uri="{FF2B5EF4-FFF2-40B4-BE49-F238E27FC236}">
                  <a16:creationId xmlns:a16="http://schemas.microsoft.com/office/drawing/2014/main" id="{95E3D91E-8773-7A4B-A13C-0E4FBDFC5FE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8" name="Bild 2">
              <a:extLst>
                <a:ext uri="{FF2B5EF4-FFF2-40B4-BE49-F238E27FC236}">
                  <a16:creationId xmlns:a16="http://schemas.microsoft.com/office/drawing/2014/main" id="{93A47CE2-36F2-314E-B92A-3F8A641FD515}"/>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E1EEBA04-4683-4848-BB26-CA97EA2ECDB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00FB335B-B11A-1A47-80E0-92010385FE92}"/>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able Placeholder 5">
            <a:extLst>
              <a:ext uri="{FF2B5EF4-FFF2-40B4-BE49-F238E27FC236}">
                <a16:creationId xmlns:a16="http://schemas.microsoft.com/office/drawing/2014/main" id="{3BFD68C4-B563-2D4A-A4B9-CA7F194CE4D4}"/>
              </a:ext>
            </a:extLst>
          </p:cNvPr>
          <p:cNvSpPr>
            <a:spLocks noGrp="1"/>
          </p:cNvSpPr>
          <p:nvPr>
            <p:ph type="tbl" sz="quarter" idx="19" hasCustomPrompt="1"/>
          </p:nvPr>
        </p:nvSpPr>
        <p:spPr>
          <a:xfrm>
            <a:off x="576264" y="2098801"/>
            <a:ext cx="11039474" cy="4037362"/>
          </a:xfrm>
        </p:spPr>
        <p:txBody>
          <a:bodyPr/>
          <a:lstStyle>
            <a:lvl1pPr marL="12700" indent="0" algn="ctr">
              <a:buNone/>
              <a:defRPr sz="1300">
                <a:solidFill>
                  <a:schemeClr val="tx2"/>
                </a:solidFill>
              </a:defRPr>
            </a:lvl1pPr>
          </a:lstStyle>
          <a:p>
            <a:r>
              <a:rPr lang="en-US" noProof="0"/>
              <a:t>Click to add a table</a:t>
            </a:r>
          </a:p>
        </p:txBody>
      </p:sp>
      <p:sp>
        <p:nvSpPr>
          <p:cNvPr id="22" name="Platshållare för datum 3">
            <a:extLst>
              <a:ext uri="{FF2B5EF4-FFF2-40B4-BE49-F238E27FC236}">
                <a16:creationId xmlns:a16="http://schemas.microsoft.com/office/drawing/2014/main" id="{69FE7AF7-F6A3-C640-A514-17AD055415B6}"/>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B366F31C-20CD-40E5-9BC0-4DF68E0CABF5}" type="datetime1">
              <a:rPr lang="en-US" noProof="0" smtClean="0"/>
              <a:t>11/1/2023</a:t>
            </a:fld>
            <a:endParaRPr lang="en-US" noProof="0"/>
          </a:p>
        </p:txBody>
      </p:sp>
      <p:sp>
        <p:nvSpPr>
          <p:cNvPr id="23" name="Platshållare för sidfot 4">
            <a:extLst>
              <a:ext uri="{FF2B5EF4-FFF2-40B4-BE49-F238E27FC236}">
                <a16:creationId xmlns:a16="http://schemas.microsoft.com/office/drawing/2014/main" id="{075A2326-1E29-9B4D-BAE6-F7E11ED89955}"/>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24" name="Platshållare för bildnummer 5">
            <a:extLst>
              <a:ext uri="{FF2B5EF4-FFF2-40B4-BE49-F238E27FC236}">
                <a16:creationId xmlns:a16="http://schemas.microsoft.com/office/drawing/2014/main" id="{C81EA6FF-C1A7-DD40-9726-BB59D2F3B26B}"/>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4206882800"/>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 Text Two Columns Blue/Grey">
    <p:bg>
      <p:bgRef idx="1001">
        <a:schemeClr val="bg1"/>
      </p:bgRef>
    </p:bg>
    <p:spTree>
      <p:nvGrpSpPr>
        <p:cNvPr id="1" name=""/>
        <p:cNvGrpSpPr/>
        <p:nvPr/>
      </p:nvGrpSpPr>
      <p:grpSpPr>
        <a:xfrm>
          <a:off x="0" y="0"/>
          <a:ext cx="0" cy="0"/>
          <a:chOff x="0" y="0"/>
          <a:chExt cx="0" cy="0"/>
        </a:xfrm>
      </p:grpSpPr>
      <p:sp>
        <p:nvSpPr>
          <p:cNvPr id="24" name="Rektangel 44">
            <a:extLst>
              <a:ext uri="{FF2B5EF4-FFF2-40B4-BE49-F238E27FC236}">
                <a16:creationId xmlns:a16="http://schemas.microsoft.com/office/drawing/2014/main" id="{27844A3D-8243-2143-85B5-BB3E1585307B}"/>
              </a:ext>
            </a:extLst>
          </p:cNvPr>
          <p:cNvSpPr/>
          <p:nvPr userDrawn="1"/>
        </p:nvSpPr>
        <p:spPr>
          <a:xfrm>
            <a:off x="587718" y="1507524"/>
            <a:ext cx="5365407" cy="46234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2"/>
              </a:solidFill>
            </a:endParaRPr>
          </a:p>
        </p:txBody>
      </p:sp>
      <p:sp>
        <p:nvSpPr>
          <p:cNvPr id="27" name="Rektangel 43">
            <a:extLst>
              <a:ext uri="{FF2B5EF4-FFF2-40B4-BE49-F238E27FC236}">
                <a16:creationId xmlns:a16="http://schemas.microsoft.com/office/drawing/2014/main" id="{D2047841-A38E-E04D-92A9-4F647F6B7944}"/>
              </a:ext>
            </a:extLst>
          </p:cNvPr>
          <p:cNvSpPr/>
          <p:nvPr userDrawn="1"/>
        </p:nvSpPr>
        <p:spPr>
          <a:xfrm>
            <a:off x="6238875" y="1507524"/>
            <a:ext cx="5382444" cy="46234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4212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one line</a:t>
            </a:r>
          </a:p>
          <a:p>
            <a:pPr lvl="0"/>
            <a:endParaRPr lang="en-US" noProof="0" dirty="0"/>
          </a:p>
        </p:txBody>
      </p:sp>
      <p:grpSp>
        <p:nvGrpSpPr>
          <p:cNvPr id="13" name="Grupp 32">
            <a:extLst>
              <a:ext uri="{FF2B5EF4-FFF2-40B4-BE49-F238E27FC236}">
                <a16:creationId xmlns:a16="http://schemas.microsoft.com/office/drawing/2014/main" id="{6052E143-9E4E-A74A-B270-30FD881BF636}"/>
              </a:ext>
            </a:extLst>
          </p:cNvPr>
          <p:cNvGrpSpPr/>
          <p:nvPr userDrawn="1"/>
        </p:nvGrpSpPr>
        <p:grpSpPr>
          <a:xfrm>
            <a:off x="576140" y="6451484"/>
            <a:ext cx="615478" cy="91194"/>
            <a:chOff x="576140" y="6451484"/>
            <a:chExt cx="615478" cy="91194"/>
          </a:xfrm>
          <a:solidFill>
            <a:schemeClr val="tx2"/>
          </a:solidFill>
        </p:grpSpPr>
        <p:sp>
          <p:nvSpPr>
            <p:cNvPr id="14" name="Bild 2">
              <a:extLst>
                <a:ext uri="{FF2B5EF4-FFF2-40B4-BE49-F238E27FC236}">
                  <a16:creationId xmlns:a16="http://schemas.microsoft.com/office/drawing/2014/main" id="{8EFB6FE1-71C4-C84E-8225-1ED321BF2576}"/>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5" name="Bild 2">
              <a:extLst>
                <a:ext uri="{FF2B5EF4-FFF2-40B4-BE49-F238E27FC236}">
                  <a16:creationId xmlns:a16="http://schemas.microsoft.com/office/drawing/2014/main" id="{C75C6BBC-8CE7-1447-9C1A-5CF2E31B8E86}"/>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6" name="Bild 2">
              <a:extLst>
                <a:ext uri="{FF2B5EF4-FFF2-40B4-BE49-F238E27FC236}">
                  <a16:creationId xmlns:a16="http://schemas.microsoft.com/office/drawing/2014/main" id="{C67E8788-BA40-7B4E-8CE0-D014697FF57F}"/>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7" name="Bild 2">
              <a:extLst>
                <a:ext uri="{FF2B5EF4-FFF2-40B4-BE49-F238E27FC236}">
                  <a16:creationId xmlns:a16="http://schemas.microsoft.com/office/drawing/2014/main" id="{95E3D91E-8773-7A4B-A13C-0E4FBDFC5FE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8" name="Bild 2">
              <a:extLst>
                <a:ext uri="{FF2B5EF4-FFF2-40B4-BE49-F238E27FC236}">
                  <a16:creationId xmlns:a16="http://schemas.microsoft.com/office/drawing/2014/main" id="{93A47CE2-36F2-314E-B92A-3F8A641FD515}"/>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E1EEBA04-4683-4848-BB26-CA97EA2ECDB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00FB335B-B11A-1A47-80E0-92010385FE92}"/>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2" name="Text Placeholder 7">
            <a:extLst>
              <a:ext uri="{FF2B5EF4-FFF2-40B4-BE49-F238E27FC236}">
                <a16:creationId xmlns:a16="http://schemas.microsoft.com/office/drawing/2014/main" id="{5B47F0ED-B34E-F740-BB96-31AB716AB214}"/>
              </a:ext>
            </a:extLst>
          </p:cNvPr>
          <p:cNvSpPr>
            <a:spLocks noGrp="1"/>
          </p:cNvSpPr>
          <p:nvPr>
            <p:ph type="body" sz="quarter" idx="21" hasCustomPrompt="1"/>
          </p:nvPr>
        </p:nvSpPr>
        <p:spPr>
          <a:xfrm>
            <a:off x="996819" y="1812559"/>
            <a:ext cx="4545239" cy="278640"/>
          </a:xfrm>
        </p:spPr>
        <p:txBody>
          <a:bodyPr numCol="1"/>
          <a:lstStyle>
            <a:lvl1pPr marL="0" indent="0">
              <a:lnSpc>
                <a:spcPct val="100000"/>
              </a:lnSpc>
              <a:spcBef>
                <a:spcPts val="0"/>
              </a:spcBef>
              <a:spcAft>
                <a:spcPts val="1000"/>
              </a:spcAft>
              <a:buNone/>
              <a:defRPr sz="1600" b="1" spc="40" baseline="0">
                <a:solidFill>
                  <a:schemeClr val="bg1"/>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3" name="Platshållare för text 2">
            <a:extLst>
              <a:ext uri="{FF2B5EF4-FFF2-40B4-BE49-F238E27FC236}">
                <a16:creationId xmlns:a16="http://schemas.microsoft.com/office/drawing/2014/main" id="{82839781-9E89-2E4B-BF5A-FCFE0FEEAF53}"/>
              </a:ext>
            </a:extLst>
          </p:cNvPr>
          <p:cNvSpPr>
            <a:spLocks noGrp="1"/>
          </p:cNvSpPr>
          <p:nvPr>
            <p:ph type="body" sz="quarter" idx="23" hasCustomPrompt="1"/>
          </p:nvPr>
        </p:nvSpPr>
        <p:spPr>
          <a:xfrm>
            <a:off x="996819" y="2178069"/>
            <a:ext cx="4545239" cy="3665028"/>
          </a:xfrm>
        </p:spPr>
        <p:txBody>
          <a:bodyPr numCol="1" spcCol="28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7">
            <a:extLst>
              <a:ext uri="{FF2B5EF4-FFF2-40B4-BE49-F238E27FC236}">
                <a16:creationId xmlns:a16="http://schemas.microsoft.com/office/drawing/2014/main" id="{A6ACECAA-6C52-1F44-BE0A-70D683814D99}"/>
              </a:ext>
            </a:extLst>
          </p:cNvPr>
          <p:cNvSpPr>
            <a:spLocks noGrp="1"/>
          </p:cNvSpPr>
          <p:nvPr>
            <p:ph type="body" sz="quarter" idx="24" hasCustomPrompt="1"/>
          </p:nvPr>
        </p:nvSpPr>
        <p:spPr>
          <a:xfrm>
            <a:off x="6657478" y="1812559"/>
            <a:ext cx="4545239"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6" name="Platshållare för text 2">
            <a:extLst>
              <a:ext uri="{FF2B5EF4-FFF2-40B4-BE49-F238E27FC236}">
                <a16:creationId xmlns:a16="http://schemas.microsoft.com/office/drawing/2014/main" id="{A69AB6DF-EAFF-2242-82F5-78B1D08532CF}"/>
              </a:ext>
            </a:extLst>
          </p:cNvPr>
          <p:cNvSpPr>
            <a:spLocks noGrp="1"/>
          </p:cNvSpPr>
          <p:nvPr>
            <p:ph type="body" sz="quarter" idx="25" hasCustomPrompt="1"/>
          </p:nvPr>
        </p:nvSpPr>
        <p:spPr>
          <a:xfrm>
            <a:off x="6657478" y="2178069"/>
            <a:ext cx="4545239"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8" name="Platshållare för datum 3">
            <a:extLst>
              <a:ext uri="{FF2B5EF4-FFF2-40B4-BE49-F238E27FC236}">
                <a16:creationId xmlns:a16="http://schemas.microsoft.com/office/drawing/2014/main" id="{6319712A-97E1-A445-BAC4-0F99CFE0DF82}"/>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00F805D2-C98E-4F7E-BB7F-F08E7AFF94E0}" type="datetime1">
              <a:rPr lang="en-US" noProof="0" smtClean="0"/>
              <a:t>11/1/2023</a:t>
            </a:fld>
            <a:endParaRPr lang="en-US" noProof="0"/>
          </a:p>
        </p:txBody>
      </p:sp>
      <p:sp>
        <p:nvSpPr>
          <p:cNvPr id="29" name="Platshållare för sidfot 4">
            <a:extLst>
              <a:ext uri="{FF2B5EF4-FFF2-40B4-BE49-F238E27FC236}">
                <a16:creationId xmlns:a16="http://schemas.microsoft.com/office/drawing/2014/main" id="{F9676C8E-A386-A846-AF45-4B98FBCCACAE}"/>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30" name="Platshållare för bildnummer 5">
            <a:extLst>
              <a:ext uri="{FF2B5EF4-FFF2-40B4-BE49-F238E27FC236}">
                <a16:creationId xmlns:a16="http://schemas.microsoft.com/office/drawing/2014/main" id="{26558BBE-F21B-9B45-9244-B8FDB77F0650}"/>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44947498"/>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 Text Two Columns Green/Grey">
    <p:bg>
      <p:bgRef idx="1001">
        <a:schemeClr val="bg1"/>
      </p:bgRef>
    </p:bg>
    <p:spTree>
      <p:nvGrpSpPr>
        <p:cNvPr id="1" name=""/>
        <p:cNvGrpSpPr/>
        <p:nvPr/>
      </p:nvGrpSpPr>
      <p:grpSpPr>
        <a:xfrm>
          <a:off x="0" y="0"/>
          <a:ext cx="0" cy="0"/>
          <a:chOff x="0" y="0"/>
          <a:chExt cx="0" cy="0"/>
        </a:xfrm>
      </p:grpSpPr>
      <p:sp>
        <p:nvSpPr>
          <p:cNvPr id="24" name="Rektangel 44">
            <a:extLst>
              <a:ext uri="{FF2B5EF4-FFF2-40B4-BE49-F238E27FC236}">
                <a16:creationId xmlns:a16="http://schemas.microsoft.com/office/drawing/2014/main" id="{27844A3D-8243-2143-85B5-BB3E1585307B}"/>
              </a:ext>
            </a:extLst>
          </p:cNvPr>
          <p:cNvSpPr/>
          <p:nvPr userDrawn="1"/>
        </p:nvSpPr>
        <p:spPr>
          <a:xfrm>
            <a:off x="587718" y="1507524"/>
            <a:ext cx="5365407" cy="46234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2"/>
              </a:solidFill>
            </a:endParaRPr>
          </a:p>
        </p:txBody>
      </p:sp>
      <p:sp>
        <p:nvSpPr>
          <p:cNvPr id="27" name="Rektangel 43">
            <a:extLst>
              <a:ext uri="{FF2B5EF4-FFF2-40B4-BE49-F238E27FC236}">
                <a16:creationId xmlns:a16="http://schemas.microsoft.com/office/drawing/2014/main" id="{D2047841-A38E-E04D-92A9-4F647F6B7944}"/>
              </a:ext>
            </a:extLst>
          </p:cNvPr>
          <p:cNvSpPr/>
          <p:nvPr userDrawn="1"/>
        </p:nvSpPr>
        <p:spPr>
          <a:xfrm>
            <a:off x="6238875" y="1507524"/>
            <a:ext cx="5382444" cy="46234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4212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dirty="0"/>
              <a:t>Click to add a headline of maximum one line</a:t>
            </a:r>
          </a:p>
          <a:p>
            <a:pPr lvl="0"/>
            <a:endParaRPr lang="en-US" noProof="0" dirty="0"/>
          </a:p>
        </p:txBody>
      </p:sp>
      <p:grpSp>
        <p:nvGrpSpPr>
          <p:cNvPr id="13" name="Grupp 32">
            <a:extLst>
              <a:ext uri="{FF2B5EF4-FFF2-40B4-BE49-F238E27FC236}">
                <a16:creationId xmlns:a16="http://schemas.microsoft.com/office/drawing/2014/main" id="{6052E143-9E4E-A74A-B270-30FD881BF636}"/>
              </a:ext>
            </a:extLst>
          </p:cNvPr>
          <p:cNvGrpSpPr/>
          <p:nvPr userDrawn="1"/>
        </p:nvGrpSpPr>
        <p:grpSpPr>
          <a:xfrm>
            <a:off x="576140" y="6451484"/>
            <a:ext cx="615478" cy="91194"/>
            <a:chOff x="576140" y="6451484"/>
            <a:chExt cx="615478" cy="91194"/>
          </a:xfrm>
          <a:solidFill>
            <a:schemeClr val="tx2"/>
          </a:solidFill>
        </p:grpSpPr>
        <p:sp>
          <p:nvSpPr>
            <p:cNvPr id="14" name="Bild 2">
              <a:extLst>
                <a:ext uri="{FF2B5EF4-FFF2-40B4-BE49-F238E27FC236}">
                  <a16:creationId xmlns:a16="http://schemas.microsoft.com/office/drawing/2014/main" id="{8EFB6FE1-71C4-C84E-8225-1ED321BF2576}"/>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5" name="Bild 2">
              <a:extLst>
                <a:ext uri="{FF2B5EF4-FFF2-40B4-BE49-F238E27FC236}">
                  <a16:creationId xmlns:a16="http://schemas.microsoft.com/office/drawing/2014/main" id="{C75C6BBC-8CE7-1447-9C1A-5CF2E31B8E86}"/>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6" name="Bild 2">
              <a:extLst>
                <a:ext uri="{FF2B5EF4-FFF2-40B4-BE49-F238E27FC236}">
                  <a16:creationId xmlns:a16="http://schemas.microsoft.com/office/drawing/2014/main" id="{C67E8788-BA40-7B4E-8CE0-D014697FF57F}"/>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7" name="Bild 2">
              <a:extLst>
                <a:ext uri="{FF2B5EF4-FFF2-40B4-BE49-F238E27FC236}">
                  <a16:creationId xmlns:a16="http://schemas.microsoft.com/office/drawing/2014/main" id="{95E3D91E-8773-7A4B-A13C-0E4FBDFC5FE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8" name="Bild 2">
              <a:extLst>
                <a:ext uri="{FF2B5EF4-FFF2-40B4-BE49-F238E27FC236}">
                  <a16:creationId xmlns:a16="http://schemas.microsoft.com/office/drawing/2014/main" id="{93A47CE2-36F2-314E-B92A-3F8A641FD515}"/>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E1EEBA04-4683-4848-BB26-CA97EA2ECDB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00FB335B-B11A-1A47-80E0-92010385FE92}"/>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2" name="Text Placeholder 7">
            <a:extLst>
              <a:ext uri="{FF2B5EF4-FFF2-40B4-BE49-F238E27FC236}">
                <a16:creationId xmlns:a16="http://schemas.microsoft.com/office/drawing/2014/main" id="{4B605BB7-B2F3-B84E-B03B-86DFCB3BA50D}"/>
              </a:ext>
            </a:extLst>
          </p:cNvPr>
          <p:cNvSpPr>
            <a:spLocks noGrp="1"/>
          </p:cNvSpPr>
          <p:nvPr>
            <p:ph type="body" sz="quarter" idx="21" hasCustomPrompt="1"/>
          </p:nvPr>
        </p:nvSpPr>
        <p:spPr>
          <a:xfrm>
            <a:off x="996819" y="1812559"/>
            <a:ext cx="4545239" cy="278640"/>
          </a:xfrm>
        </p:spPr>
        <p:txBody>
          <a:bodyPr numCol="1"/>
          <a:lstStyle>
            <a:lvl1pPr marL="0" indent="0">
              <a:lnSpc>
                <a:spcPct val="100000"/>
              </a:lnSpc>
              <a:spcBef>
                <a:spcPts val="0"/>
              </a:spcBef>
              <a:spcAft>
                <a:spcPts val="1000"/>
              </a:spcAft>
              <a:buNone/>
              <a:defRPr sz="1600" b="1" spc="40" baseline="0">
                <a:solidFill>
                  <a:schemeClr val="bg1"/>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3" name="Platshållare för text 2">
            <a:extLst>
              <a:ext uri="{FF2B5EF4-FFF2-40B4-BE49-F238E27FC236}">
                <a16:creationId xmlns:a16="http://schemas.microsoft.com/office/drawing/2014/main" id="{91A18B88-BC29-1545-A005-7757B0356CFF}"/>
              </a:ext>
            </a:extLst>
          </p:cNvPr>
          <p:cNvSpPr>
            <a:spLocks noGrp="1"/>
          </p:cNvSpPr>
          <p:nvPr>
            <p:ph type="body" sz="quarter" idx="23" hasCustomPrompt="1"/>
          </p:nvPr>
        </p:nvSpPr>
        <p:spPr>
          <a:xfrm>
            <a:off x="996819" y="2178069"/>
            <a:ext cx="4545239" cy="3665028"/>
          </a:xfrm>
        </p:spPr>
        <p:txBody>
          <a:bodyPr numCol="1" spcCol="28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7">
            <a:extLst>
              <a:ext uri="{FF2B5EF4-FFF2-40B4-BE49-F238E27FC236}">
                <a16:creationId xmlns:a16="http://schemas.microsoft.com/office/drawing/2014/main" id="{23B7487A-37EB-5B4D-AD31-7D94C9D39783}"/>
              </a:ext>
            </a:extLst>
          </p:cNvPr>
          <p:cNvSpPr>
            <a:spLocks noGrp="1"/>
          </p:cNvSpPr>
          <p:nvPr>
            <p:ph type="body" sz="quarter" idx="24" hasCustomPrompt="1"/>
          </p:nvPr>
        </p:nvSpPr>
        <p:spPr>
          <a:xfrm>
            <a:off x="6657478" y="1812559"/>
            <a:ext cx="4545239"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9" name="Platshållare för text 2">
            <a:extLst>
              <a:ext uri="{FF2B5EF4-FFF2-40B4-BE49-F238E27FC236}">
                <a16:creationId xmlns:a16="http://schemas.microsoft.com/office/drawing/2014/main" id="{814F133D-F0F6-F94F-9E60-968BEDC32C44}"/>
              </a:ext>
            </a:extLst>
          </p:cNvPr>
          <p:cNvSpPr>
            <a:spLocks noGrp="1"/>
          </p:cNvSpPr>
          <p:nvPr>
            <p:ph type="body" sz="quarter" idx="25" hasCustomPrompt="1"/>
          </p:nvPr>
        </p:nvSpPr>
        <p:spPr>
          <a:xfrm>
            <a:off x="6657478" y="2178069"/>
            <a:ext cx="4545239"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Platshållare för datum 3">
            <a:extLst>
              <a:ext uri="{FF2B5EF4-FFF2-40B4-BE49-F238E27FC236}">
                <a16:creationId xmlns:a16="http://schemas.microsoft.com/office/drawing/2014/main" id="{7402BE31-CC27-E847-BDD9-D6C887964714}"/>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D996C706-E332-4178-B4F7-1C7A0FFA6368}" type="datetime1">
              <a:rPr lang="en-US" noProof="0" smtClean="0"/>
              <a:t>11/1/2023</a:t>
            </a:fld>
            <a:endParaRPr lang="en-US" noProof="0"/>
          </a:p>
        </p:txBody>
      </p:sp>
      <p:sp>
        <p:nvSpPr>
          <p:cNvPr id="28" name="Platshållare för sidfot 4">
            <a:extLst>
              <a:ext uri="{FF2B5EF4-FFF2-40B4-BE49-F238E27FC236}">
                <a16:creationId xmlns:a16="http://schemas.microsoft.com/office/drawing/2014/main" id="{1265CF89-4A7C-0D44-A384-D4D812EA2CE5}"/>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30" name="Platshållare för bildnummer 5">
            <a:extLst>
              <a:ext uri="{FF2B5EF4-FFF2-40B4-BE49-F238E27FC236}">
                <a16:creationId xmlns:a16="http://schemas.microsoft.com/office/drawing/2014/main" id="{6B0EBF6B-CE1D-134E-8D4C-03EA3C2B194F}"/>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1212245555"/>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Empty">
    <p:bg>
      <p:bgRef idx="1001">
        <a:schemeClr val="bg1"/>
      </p:bgRef>
    </p:bg>
    <p:spTree>
      <p:nvGrpSpPr>
        <p:cNvPr id="1" name=""/>
        <p:cNvGrpSpPr/>
        <p:nvPr/>
      </p:nvGrpSpPr>
      <p:grpSpPr>
        <a:xfrm>
          <a:off x="0" y="0"/>
          <a:ext cx="0" cy="0"/>
          <a:chOff x="0" y="0"/>
          <a:chExt cx="0" cy="0"/>
        </a:xfrm>
      </p:grpSpPr>
      <p:sp>
        <p:nvSpPr>
          <p:cNvPr id="2" name="Platshållare för datum 3">
            <a:extLst>
              <a:ext uri="{FF2B5EF4-FFF2-40B4-BE49-F238E27FC236}">
                <a16:creationId xmlns:a16="http://schemas.microsoft.com/office/drawing/2014/main" id="{25CC405D-8498-714E-B2F7-E928AEECE0D3}"/>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4D315405-C6DC-4517-9BD9-ED1CDD74DC9D}" type="datetime1">
              <a:rPr lang="en-US" noProof="0" smtClean="0"/>
              <a:t>11/1/2023</a:t>
            </a:fld>
            <a:endParaRPr lang="en-US" noProof="0"/>
          </a:p>
        </p:txBody>
      </p:sp>
      <p:sp>
        <p:nvSpPr>
          <p:cNvPr id="3" name="Platshållare för sidfot 4">
            <a:extLst>
              <a:ext uri="{FF2B5EF4-FFF2-40B4-BE49-F238E27FC236}">
                <a16:creationId xmlns:a16="http://schemas.microsoft.com/office/drawing/2014/main" id="{B5435A3C-88FA-D846-9506-F253318AEBC7}"/>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4" name="Platshållare för bildnummer 5">
            <a:extLst>
              <a:ext uri="{FF2B5EF4-FFF2-40B4-BE49-F238E27FC236}">
                <a16:creationId xmlns:a16="http://schemas.microsoft.com/office/drawing/2014/main" id="{B7AF931E-E5C1-9944-83DE-D94C8A4F3F5D}"/>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723952200"/>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tel og undertittel">
    <p:spTree>
      <p:nvGrpSpPr>
        <p:cNvPr id="1" name=""/>
        <p:cNvGrpSpPr/>
        <p:nvPr/>
      </p:nvGrpSpPr>
      <p:grpSpPr>
        <a:xfrm>
          <a:off x="0" y="0"/>
          <a:ext cx="0" cy="0"/>
          <a:chOff x="0" y="0"/>
          <a:chExt cx="0" cy="0"/>
        </a:xfrm>
      </p:grpSpPr>
      <p:sp>
        <p:nvSpPr>
          <p:cNvPr id="11" name="Shape 11"/>
          <p:cNvSpPr>
            <a:spLocks noGrp="1"/>
          </p:cNvSpPr>
          <p:nvPr>
            <p:ph type="title"/>
          </p:nvPr>
        </p:nvSpPr>
        <p:spPr>
          <a:xfrm>
            <a:off x="889000" y="1149350"/>
            <a:ext cx="10414000" cy="2324100"/>
          </a:xfrm>
          <a:prstGeom prst="rect">
            <a:avLst/>
          </a:prstGeom>
        </p:spPr>
        <p:txBody>
          <a:bodyPr anchor="b"/>
          <a:lstStyle/>
          <a:p>
            <a:r>
              <a:t>Titteltekst</a:t>
            </a:r>
          </a:p>
        </p:txBody>
      </p:sp>
      <p:sp>
        <p:nvSpPr>
          <p:cNvPr id="12" name="Shape 12"/>
          <p:cNvSpPr>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2200"/>
            </a:lvl1pPr>
            <a:lvl2pPr marL="0" indent="114300" algn="ctr">
              <a:spcBef>
                <a:spcPts val="0"/>
              </a:spcBef>
              <a:buSzTx/>
              <a:buNone/>
              <a:defRPr sz="2200"/>
            </a:lvl2pPr>
            <a:lvl3pPr marL="0" indent="228600" algn="ctr">
              <a:spcBef>
                <a:spcPts val="0"/>
              </a:spcBef>
              <a:buSzTx/>
              <a:buNone/>
              <a:defRPr sz="2200"/>
            </a:lvl3pPr>
            <a:lvl4pPr marL="0" indent="342900" algn="ctr">
              <a:spcBef>
                <a:spcPts val="0"/>
              </a:spcBef>
              <a:buSzTx/>
              <a:buNone/>
              <a:defRPr sz="2200"/>
            </a:lvl4pPr>
            <a:lvl5pPr marL="0" indent="457200" algn="ctr">
              <a:spcBef>
                <a:spcPts val="0"/>
              </a:spcBef>
              <a:buSzTx/>
              <a:buNone/>
              <a:defRPr sz="2200"/>
            </a:lvl5pPr>
          </a:lstStyle>
          <a:p>
            <a:r>
              <a:t>Brødtekst nivå én</a:t>
            </a:r>
          </a:p>
          <a:p>
            <a:pPr lvl="1"/>
            <a:r>
              <a:t>Brødtekst nivå to</a:t>
            </a:r>
          </a:p>
          <a:p>
            <a:pPr lvl="2"/>
            <a:r>
              <a:t>Brødtekst nivå tre</a:t>
            </a:r>
          </a:p>
          <a:p>
            <a:pPr lvl="3"/>
            <a:r>
              <a:t>Brødtekst nivå fire</a:t>
            </a:r>
          </a:p>
          <a:p>
            <a:pPr lvl="4"/>
            <a:r>
              <a:t>Brødtekst nivå fem</a:t>
            </a:r>
          </a:p>
        </p:txBody>
      </p:sp>
      <p:sp>
        <p:nvSpPr>
          <p:cNvPr id="13" name="Shape 13"/>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Bilde – horisontalt">
    <p:spTree>
      <p:nvGrpSpPr>
        <p:cNvPr id="1" name=""/>
        <p:cNvGrpSpPr/>
        <p:nvPr/>
      </p:nvGrpSpPr>
      <p:grpSpPr>
        <a:xfrm>
          <a:off x="0" y="0"/>
          <a:ext cx="0" cy="0"/>
          <a:chOff x="0" y="0"/>
          <a:chExt cx="0" cy="0"/>
        </a:xfrm>
      </p:grpSpPr>
      <p:sp>
        <p:nvSpPr>
          <p:cNvPr id="20" name="Shape 20"/>
          <p:cNvSpPr>
            <a:spLocks noGrp="1"/>
          </p:cNvSpPr>
          <p:nvPr>
            <p:ph type="pic" idx="13"/>
          </p:nvPr>
        </p:nvSpPr>
        <p:spPr>
          <a:xfrm>
            <a:off x="1562984" y="336550"/>
            <a:ext cx="9067801" cy="4368800"/>
          </a:xfrm>
          <a:prstGeom prst="rect">
            <a:avLst/>
          </a:prstGeom>
        </p:spPr>
        <p:txBody>
          <a:bodyPr lIns="91439" tIns="45719" rIns="91439" bIns="45719" anchor="t">
            <a:noAutofit/>
          </a:bodyPr>
          <a:lstStyle/>
          <a:p>
            <a:endParaRPr/>
          </a:p>
        </p:txBody>
      </p:sp>
      <p:sp>
        <p:nvSpPr>
          <p:cNvPr id="21" name="Shape 21"/>
          <p:cNvSpPr>
            <a:spLocks noGrp="1"/>
          </p:cNvSpPr>
          <p:nvPr>
            <p:ph type="title"/>
          </p:nvPr>
        </p:nvSpPr>
        <p:spPr>
          <a:xfrm>
            <a:off x="317500" y="4724400"/>
            <a:ext cx="11557000" cy="1003300"/>
          </a:xfrm>
          <a:prstGeom prst="rect">
            <a:avLst/>
          </a:prstGeom>
        </p:spPr>
        <p:txBody>
          <a:bodyPr anchor="b"/>
          <a:lstStyle/>
          <a:p>
            <a:r>
              <a:t>Titteltekst</a:t>
            </a:r>
          </a:p>
        </p:txBody>
      </p:sp>
      <p:sp>
        <p:nvSpPr>
          <p:cNvPr id="22" name="Shape 22"/>
          <p:cNvSpPr>
            <a:spLocks noGrp="1"/>
          </p:cNvSpPr>
          <p:nvPr>
            <p:ph type="body" sz="quarter" idx="1"/>
          </p:nvPr>
        </p:nvSpPr>
        <p:spPr>
          <a:xfrm>
            <a:off x="317500" y="5759450"/>
            <a:ext cx="11557000" cy="793750"/>
          </a:xfrm>
          <a:prstGeom prst="rect">
            <a:avLst/>
          </a:prstGeom>
        </p:spPr>
        <p:txBody>
          <a:bodyPr anchor="t"/>
          <a:lstStyle>
            <a:lvl1pPr marL="0" indent="0" algn="ctr">
              <a:spcBef>
                <a:spcPts val="0"/>
              </a:spcBef>
              <a:buSzTx/>
              <a:buNone/>
              <a:defRPr sz="2200"/>
            </a:lvl1pPr>
            <a:lvl2pPr marL="0" indent="114300" algn="ctr">
              <a:spcBef>
                <a:spcPts val="0"/>
              </a:spcBef>
              <a:buSzTx/>
              <a:buNone/>
              <a:defRPr sz="2200"/>
            </a:lvl2pPr>
            <a:lvl3pPr marL="0" indent="228600" algn="ctr">
              <a:spcBef>
                <a:spcPts val="0"/>
              </a:spcBef>
              <a:buSzTx/>
              <a:buNone/>
              <a:defRPr sz="2200"/>
            </a:lvl3pPr>
            <a:lvl4pPr marL="0" indent="342900" algn="ctr">
              <a:spcBef>
                <a:spcPts val="0"/>
              </a:spcBef>
              <a:buSzTx/>
              <a:buNone/>
              <a:defRPr sz="2200"/>
            </a:lvl4pPr>
            <a:lvl5pPr marL="0" indent="457200" algn="ctr">
              <a:spcBef>
                <a:spcPts val="0"/>
              </a:spcBef>
              <a:buSzTx/>
              <a:buNone/>
              <a:defRPr sz="2200"/>
            </a:lvl5pPr>
          </a:lstStyle>
          <a:p>
            <a:r>
              <a:t>Brødtekst nivå én</a:t>
            </a:r>
          </a:p>
          <a:p>
            <a:pPr lvl="1"/>
            <a:r>
              <a:t>Brødtekst nivå to</a:t>
            </a:r>
          </a:p>
          <a:p>
            <a:pPr lvl="2"/>
            <a:r>
              <a:t>Brødtekst nivå tre</a:t>
            </a:r>
          </a:p>
          <a:p>
            <a:pPr lvl="3"/>
            <a:r>
              <a:t>Brødtekst nivå fire</a:t>
            </a:r>
          </a:p>
          <a:p>
            <a:pPr lvl="4"/>
            <a:r>
              <a:t>Brødtekst nivå fem</a:t>
            </a:r>
          </a:p>
        </p:txBody>
      </p:sp>
      <p:sp>
        <p:nvSpPr>
          <p:cNvPr id="23" name="Shape 23"/>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Tittel – sentrert">
    <p:spTree>
      <p:nvGrpSpPr>
        <p:cNvPr id="1" name=""/>
        <p:cNvGrpSpPr/>
        <p:nvPr/>
      </p:nvGrpSpPr>
      <p:grpSpPr>
        <a:xfrm>
          <a:off x="0" y="0"/>
          <a:ext cx="0" cy="0"/>
          <a:chOff x="0" y="0"/>
          <a:chExt cx="0" cy="0"/>
        </a:xfrm>
      </p:grpSpPr>
      <p:sp>
        <p:nvSpPr>
          <p:cNvPr id="30" name="Shape 30"/>
          <p:cNvSpPr>
            <a:spLocks noGrp="1"/>
          </p:cNvSpPr>
          <p:nvPr>
            <p:ph type="title"/>
          </p:nvPr>
        </p:nvSpPr>
        <p:spPr>
          <a:xfrm>
            <a:off x="889000" y="2266950"/>
            <a:ext cx="10414000" cy="2324100"/>
          </a:xfrm>
          <a:prstGeom prst="rect">
            <a:avLst/>
          </a:prstGeom>
        </p:spPr>
        <p:txBody>
          <a:bodyPr/>
          <a:lstStyle/>
          <a:p>
            <a:r>
              <a:t>Titteltekst</a:t>
            </a:r>
          </a:p>
        </p:txBody>
      </p:sp>
      <p:sp>
        <p:nvSpPr>
          <p:cNvPr id="31" name="Shape 31"/>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hapter Slide Blue">
    <p:bg>
      <p:bgRef idx="1001">
        <a:schemeClr val="bg2"/>
      </p:bgRef>
    </p:bg>
    <p:spTree>
      <p:nvGrpSpPr>
        <p:cNvPr id="1" name=""/>
        <p:cNvGrpSpPr/>
        <p:nvPr/>
      </p:nvGrpSpPr>
      <p:grpSpPr>
        <a:xfrm>
          <a:off x="0" y="0"/>
          <a:ext cx="0" cy="0"/>
          <a:chOff x="0" y="0"/>
          <a:chExt cx="0" cy="0"/>
        </a:xfrm>
      </p:grpSpPr>
      <p:sp>
        <p:nvSpPr>
          <p:cNvPr id="16" name="Text Placeholder 18">
            <a:extLst>
              <a:ext uri="{FF2B5EF4-FFF2-40B4-BE49-F238E27FC236}">
                <a16:creationId xmlns:a16="http://schemas.microsoft.com/office/drawing/2014/main" id="{F7778766-F776-2644-80BC-C322DB5143E5}"/>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tx1"/>
                </a:solidFill>
                <a:latin typeface="+mj-lt"/>
              </a:defRPr>
            </a:lvl1pPr>
          </a:lstStyle>
          <a:p>
            <a:pPr lvl="0"/>
            <a:r>
              <a:rPr lang="en-US" noProof="0" dirty="0"/>
              <a:t>Click to add a headline </a:t>
            </a:r>
            <a:br>
              <a:rPr lang="en-US" noProof="0" dirty="0"/>
            </a:br>
            <a:r>
              <a:rPr lang="en-US" noProof="0" dirty="0"/>
              <a:t>of maximum two lines</a:t>
            </a:r>
          </a:p>
        </p:txBody>
      </p:sp>
      <p:grpSp>
        <p:nvGrpSpPr>
          <p:cNvPr id="17" name="Grupp 32">
            <a:extLst>
              <a:ext uri="{FF2B5EF4-FFF2-40B4-BE49-F238E27FC236}">
                <a16:creationId xmlns:a16="http://schemas.microsoft.com/office/drawing/2014/main" id="{CCC1C461-9A79-5540-8EA5-15E5AD6E1CA7}"/>
              </a:ext>
            </a:extLst>
          </p:cNvPr>
          <p:cNvGrpSpPr/>
          <p:nvPr userDrawn="1"/>
        </p:nvGrpSpPr>
        <p:grpSpPr>
          <a:xfrm>
            <a:off x="576140" y="6451484"/>
            <a:ext cx="615478" cy="91194"/>
            <a:chOff x="576140" y="6451484"/>
            <a:chExt cx="615478" cy="91194"/>
          </a:xfrm>
          <a:solidFill>
            <a:schemeClr val="tx1"/>
          </a:solidFill>
        </p:grpSpPr>
        <p:sp>
          <p:nvSpPr>
            <p:cNvPr id="18" name="Bild 2">
              <a:extLst>
                <a:ext uri="{FF2B5EF4-FFF2-40B4-BE49-F238E27FC236}">
                  <a16:creationId xmlns:a16="http://schemas.microsoft.com/office/drawing/2014/main" id="{B7D99BA8-54ED-9945-B3A3-B69B3E549BA3}"/>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19" name="Bild 2">
              <a:extLst>
                <a:ext uri="{FF2B5EF4-FFF2-40B4-BE49-F238E27FC236}">
                  <a16:creationId xmlns:a16="http://schemas.microsoft.com/office/drawing/2014/main" id="{67860190-748E-D545-AF14-8F029A04EDF3}"/>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0" name="Bild 2">
              <a:extLst>
                <a:ext uri="{FF2B5EF4-FFF2-40B4-BE49-F238E27FC236}">
                  <a16:creationId xmlns:a16="http://schemas.microsoft.com/office/drawing/2014/main" id="{1FB3FDA7-54B9-074B-B62F-1B2C37A3F984}"/>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1" name="Bild 2">
              <a:extLst>
                <a:ext uri="{FF2B5EF4-FFF2-40B4-BE49-F238E27FC236}">
                  <a16:creationId xmlns:a16="http://schemas.microsoft.com/office/drawing/2014/main" id="{423BE486-7867-7E49-B208-7017D21BF75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2" name="Bild 2">
              <a:extLst>
                <a:ext uri="{FF2B5EF4-FFF2-40B4-BE49-F238E27FC236}">
                  <a16:creationId xmlns:a16="http://schemas.microsoft.com/office/drawing/2014/main" id="{E7B5CB21-99E6-A940-BA46-9C57EC56E7F7}"/>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23" name="Bild 2">
              <a:extLst>
                <a:ext uri="{FF2B5EF4-FFF2-40B4-BE49-F238E27FC236}">
                  <a16:creationId xmlns:a16="http://schemas.microsoft.com/office/drawing/2014/main" id="{8E0A5CDE-6444-0846-AB95-49DCBEBF1B14}"/>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4" name="Bild 2">
              <a:extLst>
                <a:ext uri="{FF2B5EF4-FFF2-40B4-BE49-F238E27FC236}">
                  <a16:creationId xmlns:a16="http://schemas.microsoft.com/office/drawing/2014/main" id="{668977B8-0ED8-024D-82B5-F29636A29043}"/>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
        <p:nvSpPr>
          <p:cNvPr id="14" name="Platshållare för datum 3">
            <a:extLst>
              <a:ext uri="{FF2B5EF4-FFF2-40B4-BE49-F238E27FC236}">
                <a16:creationId xmlns:a16="http://schemas.microsoft.com/office/drawing/2014/main" id="{06F89A69-F67B-094F-AE41-2BE0278384A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1"/>
                </a:solidFill>
              </a:defRPr>
            </a:lvl1pPr>
          </a:lstStyle>
          <a:p>
            <a:fld id="{5B943154-1CFA-46EC-AC08-9EDC18DDB0D9}" type="datetime1">
              <a:rPr lang="en-US" smtClean="0"/>
              <a:t>11/1/2023</a:t>
            </a:fld>
            <a:endParaRPr lang="en-US"/>
          </a:p>
        </p:txBody>
      </p:sp>
      <p:sp>
        <p:nvSpPr>
          <p:cNvPr id="15" name="Platshållare för sidfot 4">
            <a:extLst>
              <a:ext uri="{FF2B5EF4-FFF2-40B4-BE49-F238E27FC236}">
                <a16:creationId xmlns:a16="http://schemas.microsoft.com/office/drawing/2014/main" id="{0D86C592-6736-C940-B119-9570C8C9F6B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en-US"/>
              <a:t>Go to header/footer to change text </a:t>
            </a:r>
          </a:p>
        </p:txBody>
      </p:sp>
      <p:sp>
        <p:nvSpPr>
          <p:cNvPr id="25" name="Platshållare för bildnummer 5">
            <a:extLst>
              <a:ext uri="{FF2B5EF4-FFF2-40B4-BE49-F238E27FC236}">
                <a16:creationId xmlns:a16="http://schemas.microsoft.com/office/drawing/2014/main" id="{7DCF2312-AA91-3248-90DB-C057CD0B6345}"/>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4132097082"/>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Bilde – vertikalt">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6582990" y="552450"/>
            <a:ext cx="4762501" cy="5753100"/>
          </a:xfrm>
          <a:prstGeom prst="rect">
            <a:avLst/>
          </a:prstGeom>
        </p:spPr>
        <p:txBody>
          <a:bodyPr lIns="91439" tIns="45719" rIns="91439" bIns="45719" anchor="t">
            <a:noAutofit/>
          </a:bodyPr>
          <a:lstStyle/>
          <a:p>
            <a:endParaRPr/>
          </a:p>
        </p:txBody>
      </p:sp>
      <p:sp>
        <p:nvSpPr>
          <p:cNvPr id="39" name="Shape 39"/>
          <p:cNvSpPr>
            <a:spLocks noGrp="1"/>
          </p:cNvSpPr>
          <p:nvPr>
            <p:ph type="title"/>
          </p:nvPr>
        </p:nvSpPr>
        <p:spPr>
          <a:xfrm>
            <a:off x="825500" y="552450"/>
            <a:ext cx="5111750" cy="2806700"/>
          </a:xfrm>
          <a:prstGeom prst="rect">
            <a:avLst/>
          </a:prstGeom>
        </p:spPr>
        <p:txBody>
          <a:bodyPr anchor="b"/>
          <a:lstStyle>
            <a:lvl1pPr>
              <a:defRPr sz="4200"/>
            </a:lvl1pPr>
          </a:lstStyle>
          <a:p>
            <a:r>
              <a:t>Titteltekst</a:t>
            </a:r>
          </a:p>
        </p:txBody>
      </p:sp>
      <p:sp>
        <p:nvSpPr>
          <p:cNvPr id="40" name="Shape 40"/>
          <p:cNvSpPr>
            <a:spLocks noGrp="1"/>
          </p:cNvSpPr>
          <p:nvPr>
            <p:ph type="body" sz="quarter" idx="1"/>
          </p:nvPr>
        </p:nvSpPr>
        <p:spPr>
          <a:xfrm>
            <a:off x="825500" y="3422650"/>
            <a:ext cx="5111750" cy="2882900"/>
          </a:xfrm>
          <a:prstGeom prst="rect">
            <a:avLst/>
          </a:prstGeom>
        </p:spPr>
        <p:txBody>
          <a:bodyPr anchor="t"/>
          <a:lstStyle>
            <a:lvl1pPr marL="0" indent="0" algn="ctr">
              <a:spcBef>
                <a:spcPts val="0"/>
              </a:spcBef>
              <a:buSzTx/>
              <a:buNone/>
              <a:defRPr sz="2200"/>
            </a:lvl1pPr>
            <a:lvl2pPr marL="0" indent="114300" algn="ctr">
              <a:spcBef>
                <a:spcPts val="0"/>
              </a:spcBef>
              <a:buSzTx/>
              <a:buNone/>
              <a:defRPr sz="2200"/>
            </a:lvl2pPr>
            <a:lvl3pPr marL="0" indent="228600" algn="ctr">
              <a:spcBef>
                <a:spcPts val="0"/>
              </a:spcBef>
              <a:buSzTx/>
              <a:buNone/>
              <a:defRPr sz="2200"/>
            </a:lvl3pPr>
            <a:lvl4pPr marL="0" indent="342900" algn="ctr">
              <a:spcBef>
                <a:spcPts val="0"/>
              </a:spcBef>
              <a:buSzTx/>
              <a:buNone/>
              <a:defRPr sz="2200"/>
            </a:lvl4pPr>
            <a:lvl5pPr marL="0" indent="457200" algn="ctr">
              <a:spcBef>
                <a:spcPts val="0"/>
              </a:spcBef>
              <a:buSzTx/>
              <a:buNone/>
              <a:defRPr sz="2200"/>
            </a:lvl5pPr>
          </a:lstStyle>
          <a:p>
            <a:r>
              <a:t>Brødtekst nivå én</a:t>
            </a:r>
          </a:p>
          <a:p>
            <a:pPr lvl="1"/>
            <a:r>
              <a:t>Brødtekst nivå to</a:t>
            </a:r>
          </a:p>
          <a:p>
            <a:pPr lvl="2"/>
            <a:r>
              <a:t>Brødtekst nivå tre</a:t>
            </a:r>
          </a:p>
          <a:p>
            <a:pPr lvl="3"/>
            <a:r>
              <a:t>Brødtekst nivå fire</a:t>
            </a:r>
          </a:p>
          <a:p>
            <a:pPr lvl="4"/>
            <a:r>
              <a:t>Brødtekst nivå fem</a:t>
            </a:r>
          </a:p>
        </p:txBody>
      </p:sp>
      <p:sp>
        <p:nvSpPr>
          <p:cNvPr id="41" name="Shape 41"/>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Tittel – øverst">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teltekst</a:t>
            </a:r>
          </a:p>
        </p:txBody>
      </p:sp>
      <p:sp>
        <p:nvSpPr>
          <p:cNvPr id="49" name="Shape 49"/>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Tittel og punkttegn">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teltekst</a:t>
            </a:r>
          </a:p>
        </p:txBody>
      </p:sp>
      <p:sp>
        <p:nvSpPr>
          <p:cNvPr id="57" name="Shape 57"/>
          <p:cNvSpPr>
            <a:spLocks noGrp="1"/>
          </p:cNvSpPr>
          <p:nvPr>
            <p:ph type="body" idx="1"/>
          </p:nvPr>
        </p:nvSpPr>
        <p:spPr>
          <a:prstGeom prst="rect">
            <a:avLst/>
          </a:prstGeom>
        </p:spPr>
        <p:txBody>
          <a:bodyPr/>
          <a:lstStyle/>
          <a:p>
            <a:r>
              <a:t>Brødtekst nivå én</a:t>
            </a:r>
          </a:p>
          <a:p>
            <a:pPr lvl="1"/>
            <a:r>
              <a:t>Brødtekst nivå to</a:t>
            </a:r>
          </a:p>
          <a:p>
            <a:pPr lvl="2"/>
            <a:r>
              <a:t>Brødtekst nivå tre</a:t>
            </a:r>
          </a:p>
          <a:p>
            <a:pPr lvl="3"/>
            <a:r>
              <a:t>Brødtekst nivå fire</a:t>
            </a:r>
          </a:p>
          <a:p>
            <a:pPr lvl="4"/>
            <a:r>
              <a:t>Brødtekst nivå fem</a:t>
            </a:r>
          </a:p>
        </p:txBody>
      </p:sp>
      <p:sp>
        <p:nvSpPr>
          <p:cNvPr id="58" name="Shape 58"/>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Tittel, punkttegn og bilde">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6584950" y="1619250"/>
            <a:ext cx="4762500" cy="4603750"/>
          </a:xfrm>
          <a:prstGeom prst="rect">
            <a:avLst/>
          </a:prstGeom>
        </p:spPr>
        <p:txBody>
          <a:bodyPr lIns="91439" tIns="45719" rIns="91439" bIns="45719" anchor="t">
            <a:noAutofit/>
          </a:bodyPr>
          <a:lstStyle/>
          <a:p>
            <a:endParaRPr/>
          </a:p>
        </p:txBody>
      </p:sp>
      <p:sp>
        <p:nvSpPr>
          <p:cNvPr id="66" name="Shape 66"/>
          <p:cNvSpPr>
            <a:spLocks noGrp="1"/>
          </p:cNvSpPr>
          <p:nvPr>
            <p:ph type="title"/>
          </p:nvPr>
        </p:nvSpPr>
        <p:spPr>
          <a:prstGeom prst="rect">
            <a:avLst/>
          </a:prstGeom>
        </p:spPr>
        <p:txBody>
          <a:bodyPr/>
          <a:lstStyle/>
          <a:p>
            <a:r>
              <a:t>Titteltekst</a:t>
            </a:r>
          </a:p>
        </p:txBody>
      </p:sp>
      <p:sp>
        <p:nvSpPr>
          <p:cNvPr id="67" name="Shape 67"/>
          <p:cNvSpPr>
            <a:spLocks noGrp="1"/>
          </p:cNvSpPr>
          <p:nvPr>
            <p:ph type="body" sz="half" idx="1"/>
          </p:nvPr>
        </p:nvSpPr>
        <p:spPr>
          <a:xfrm>
            <a:off x="844550" y="1619250"/>
            <a:ext cx="5003800" cy="4603750"/>
          </a:xfrm>
          <a:prstGeom prst="rect">
            <a:avLst/>
          </a:prstGeom>
        </p:spPr>
        <p:txBody>
          <a:bodyPr/>
          <a:lstStyle>
            <a:lvl1pPr marL="279400" indent="-279400">
              <a:spcBef>
                <a:spcPts val="2250"/>
              </a:spcBef>
              <a:defRPr sz="2250"/>
            </a:lvl1pPr>
            <a:lvl2pPr marL="558800" indent="-279400">
              <a:spcBef>
                <a:spcPts val="2250"/>
              </a:spcBef>
              <a:defRPr sz="2250"/>
            </a:lvl2pPr>
            <a:lvl3pPr marL="838200" indent="-279400">
              <a:spcBef>
                <a:spcPts val="2250"/>
              </a:spcBef>
              <a:defRPr sz="2250"/>
            </a:lvl3pPr>
            <a:lvl4pPr marL="1117600" indent="-279400">
              <a:spcBef>
                <a:spcPts val="2250"/>
              </a:spcBef>
              <a:defRPr sz="2250"/>
            </a:lvl4pPr>
            <a:lvl5pPr marL="1397000" indent="-279400">
              <a:spcBef>
                <a:spcPts val="2250"/>
              </a:spcBef>
              <a:defRPr sz="2250"/>
            </a:lvl5pPr>
          </a:lstStyle>
          <a:p>
            <a:r>
              <a:t>Brødtekst nivå én</a:t>
            </a:r>
          </a:p>
          <a:p>
            <a:pPr lvl="1"/>
            <a:r>
              <a:t>Brødtekst nivå to</a:t>
            </a:r>
          </a:p>
          <a:p>
            <a:pPr lvl="2"/>
            <a:r>
              <a:t>Brødtekst nivå tre</a:t>
            </a:r>
          </a:p>
          <a:p>
            <a:pPr lvl="3"/>
            <a:r>
              <a:t>Brødtekst nivå fire</a:t>
            </a:r>
          </a:p>
          <a:p>
            <a:pPr lvl="4"/>
            <a:r>
              <a:t>Brødtekst nivå fem</a:t>
            </a:r>
          </a:p>
        </p:txBody>
      </p:sp>
      <p:sp>
        <p:nvSpPr>
          <p:cNvPr id="68" name="Shape 68"/>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Punkttegn">
    <p:spTree>
      <p:nvGrpSpPr>
        <p:cNvPr id="1" name=""/>
        <p:cNvGrpSpPr/>
        <p:nvPr/>
      </p:nvGrpSpPr>
      <p:grpSpPr>
        <a:xfrm>
          <a:off x="0" y="0"/>
          <a:ext cx="0" cy="0"/>
          <a:chOff x="0" y="0"/>
          <a:chExt cx="0" cy="0"/>
        </a:xfrm>
      </p:grpSpPr>
      <p:sp>
        <p:nvSpPr>
          <p:cNvPr id="75" name="Shape 75"/>
          <p:cNvSpPr>
            <a:spLocks noGrp="1"/>
          </p:cNvSpPr>
          <p:nvPr>
            <p:ph type="body" idx="1"/>
          </p:nvPr>
        </p:nvSpPr>
        <p:spPr>
          <a:xfrm>
            <a:off x="844550" y="889000"/>
            <a:ext cx="10502900" cy="5073650"/>
          </a:xfrm>
          <a:prstGeom prst="rect">
            <a:avLst/>
          </a:prstGeom>
        </p:spPr>
        <p:txBody>
          <a:bodyPr/>
          <a:lstStyle/>
          <a:p>
            <a:r>
              <a:t>Brødtekst nivå én</a:t>
            </a:r>
          </a:p>
          <a:p>
            <a:pPr lvl="1"/>
            <a:r>
              <a:t>Brødtekst nivå to</a:t>
            </a:r>
          </a:p>
          <a:p>
            <a:pPr lvl="2"/>
            <a:r>
              <a:t>Brødtekst nivå tre</a:t>
            </a:r>
          </a:p>
          <a:p>
            <a:pPr lvl="3"/>
            <a:r>
              <a:t>Brødtekst nivå fire</a:t>
            </a:r>
          </a:p>
          <a:p>
            <a:pPr lvl="4"/>
            <a:r>
              <a:t>Brødtekst nivå fem</a:t>
            </a:r>
          </a:p>
        </p:txBody>
      </p:sp>
      <p:sp>
        <p:nvSpPr>
          <p:cNvPr id="76" name="Shape 76"/>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Bilde – 3 per side">
    <p:spTree>
      <p:nvGrpSpPr>
        <p:cNvPr id="1" name=""/>
        <p:cNvGrpSpPr/>
        <p:nvPr/>
      </p:nvGrpSpPr>
      <p:grpSpPr>
        <a:xfrm>
          <a:off x="0" y="0"/>
          <a:ext cx="0" cy="0"/>
          <a:chOff x="0" y="0"/>
          <a:chExt cx="0" cy="0"/>
        </a:xfrm>
      </p:grpSpPr>
      <p:sp>
        <p:nvSpPr>
          <p:cNvPr id="83" name="Shape 83"/>
          <p:cNvSpPr>
            <a:spLocks noGrp="1"/>
          </p:cNvSpPr>
          <p:nvPr>
            <p:ph type="pic" sz="quarter" idx="13"/>
          </p:nvPr>
        </p:nvSpPr>
        <p:spPr>
          <a:xfrm>
            <a:off x="7880350" y="3524250"/>
            <a:ext cx="3702050" cy="2774950"/>
          </a:xfrm>
          <a:prstGeom prst="rect">
            <a:avLst/>
          </a:prstGeom>
        </p:spPr>
        <p:txBody>
          <a:bodyPr lIns="91439" tIns="45719" rIns="91439" bIns="45719" anchor="t">
            <a:noAutofit/>
          </a:bodyPr>
          <a:lstStyle/>
          <a:p>
            <a:endParaRPr/>
          </a:p>
        </p:txBody>
      </p:sp>
      <p:sp>
        <p:nvSpPr>
          <p:cNvPr id="84" name="Shape 84"/>
          <p:cNvSpPr>
            <a:spLocks noGrp="1"/>
          </p:cNvSpPr>
          <p:nvPr>
            <p:ph type="pic" sz="quarter" idx="14"/>
          </p:nvPr>
        </p:nvSpPr>
        <p:spPr>
          <a:xfrm>
            <a:off x="7880350" y="565150"/>
            <a:ext cx="3702050" cy="2774950"/>
          </a:xfrm>
          <a:prstGeom prst="rect">
            <a:avLst/>
          </a:prstGeom>
        </p:spPr>
        <p:txBody>
          <a:bodyPr lIns="91439" tIns="45719" rIns="91439" bIns="45719" anchor="t">
            <a:noAutofit/>
          </a:bodyPr>
          <a:lstStyle/>
          <a:p>
            <a:endParaRPr/>
          </a:p>
        </p:txBody>
      </p:sp>
      <p:sp>
        <p:nvSpPr>
          <p:cNvPr id="85" name="Shape 85"/>
          <p:cNvSpPr>
            <a:spLocks noGrp="1"/>
          </p:cNvSpPr>
          <p:nvPr>
            <p:ph type="pic" idx="15"/>
          </p:nvPr>
        </p:nvSpPr>
        <p:spPr>
          <a:xfrm>
            <a:off x="603250" y="565150"/>
            <a:ext cx="7086600" cy="5734050"/>
          </a:xfrm>
          <a:prstGeom prst="rect">
            <a:avLst/>
          </a:prstGeom>
        </p:spPr>
        <p:txBody>
          <a:bodyPr lIns="91439" tIns="45719" rIns="91439" bIns="45719" anchor="t">
            <a:noAutofit/>
          </a:bodyPr>
          <a:lstStyle/>
          <a:p>
            <a:endParaRPr/>
          </a:p>
        </p:txBody>
      </p:sp>
      <p:sp>
        <p:nvSpPr>
          <p:cNvPr id="86" name="Shape 86"/>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Sitat">
    <p:spTree>
      <p:nvGrpSpPr>
        <p:cNvPr id="1" name=""/>
        <p:cNvGrpSpPr/>
        <p:nvPr/>
      </p:nvGrpSpPr>
      <p:grpSpPr>
        <a:xfrm>
          <a:off x="0" y="0"/>
          <a:ext cx="0" cy="0"/>
          <a:chOff x="0" y="0"/>
          <a:chExt cx="0" cy="0"/>
        </a:xfrm>
      </p:grpSpPr>
      <p:sp>
        <p:nvSpPr>
          <p:cNvPr id="93" name="Shape 93"/>
          <p:cNvSpPr>
            <a:spLocks noGrp="1"/>
          </p:cNvSpPr>
          <p:nvPr>
            <p:ph type="body" sz="quarter" idx="13"/>
          </p:nvPr>
        </p:nvSpPr>
        <p:spPr>
          <a:xfrm>
            <a:off x="1193800" y="4476750"/>
            <a:ext cx="9810750" cy="394980"/>
          </a:xfrm>
          <a:prstGeom prst="rect">
            <a:avLst/>
          </a:prstGeom>
        </p:spPr>
        <p:txBody>
          <a:bodyPr anchor="t">
            <a:spAutoFit/>
          </a:bodyPr>
          <a:lstStyle>
            <a:lvl1pPr marL="0" indent="0" algn="ctr">
              <a:spcBef>
                <a:spcPts val="0"/>
              </a:spcBef>
              <a:buSzTx/>
              <a:buNone/>
              <a:defRPr sz="1900"/>
            </a:lvl1pPr>
          </a:lstStyle>
          <a:p>
            <a:r>
              <a:t>– Johnny Appleseed</a:t>
            </a:r>
          </a:p>
        </p:txBody>
      </p:sp>
      <p:sp>
        <p:nvSpPr>
          <p:cNvPr id="94" name="Shape 94"/>
          <p:cNvSpPr>
            <a:spLocks noGrp="1"/>
          </p:cNvSpPr>
          <p:nvPr>
            <p:ph type="body" sz="quarter" idx="14"/>
          </p:nvPr>
        </p:nvSpPr>
        <p:spPr>
          <a:xfrm>
            <a:off x="1193800" y="2993499"/>
            <a:ext cx="9810750" cy="502702"/>
          </a:xfrm>
          <a:prstGeom prst="rect">
            <a:avLst/>
          </a:prstGeom>
        </p:spPr>
        <p:txBody>
          <a:bodyPr>
            <a:spAutoFit/>
          </a:bodyPr>
          <a:lstStyle>
            <a:lvl1pPr marL="0" indent="0" algn="ctr">
              <a:spcBef>
                <a:spcPts val="0"/>
              </a:spcBef>
              <a:buSzTx/>
              <a:buNone/>
            </a:lvl1pPr>
          </a:lstStyle>
          <a:p>
            <a:r>
              <a:t>«Skriv et sitat her.»</a:t>
            </a:r>
          </a:p>
        </p:txBody>
      </p:sp>
      <p:sp>
        <p:nvSpPr>
          <p:cNvPr id="95" name="Shape 95"/>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Bilde">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12192000" cy="6858000"/>
          </a:xfrm>
          <a:prstGeom prst="rect">
            <a:avLst/>
          </a:prstGeom>
        </p:spPr>
        <p:txBody>
          <a:bodyPr lIns="91439" tIns="45719" rIns="91439" bIns="45719" anchor="t">
            <a:noAutofit/>
          </a:bodyPr>
          <a:lstStyle/>
          <a:p>
            <a:endParaRPr/>
          </a:p>
        </p:txBody>
      </p:sp>
      <p:sp>
        <p:nvSpPr>
          <p:cNvPr id="103" name="Shape 103"/>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Tom">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rPr/>
              <a:pPr/>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hapter Slide Gray">
    <p:spTree>
      <p:nvGrpSpPr>
        <p:cNvPr id="1" name=""/>
        <p:cNvGrpSpPr/>
        <p:nvPr/>
      </p:nvGrpSpPr>
      <p:grpSpPr>
        <a:xfrm>
          <a:off x="0" y="0"/>
          <a:ext cx="0" cy="0"/>
          <a:chOff x="0" y="0"/>
          <a:chExt cx="0" cy="0"/>
        </a:xfrm>
      </p:grpSpPr>
      <p:sp>
        <p:nvSpPr>
          <p:cNvPr id="18" name="Text Placeholder 18">
            <a:extLst>
              <a:ext uri="{FF2B5EF4-FFF2-40B4-BE49-F238E27FC236}">
                <a16:creationId xmlns:a16="http://schemas.microsoft.com/office/drawing/2014/main" id="{ED7479DB-E08A-074A-9190-F08269647CDA}"/>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dirty="0"/>
              <a:t>Click to add a headline </a:t>
            </a:r>
            <a:br>
              <a:rPr lang="en-US" noProof="0" dirty="0"/>
            </a:br>
            <a:r>
              <a:rPr lang="en-US" noProof="0" dirty="0"/>
              <a:t>of maximum two lines</a:t>
            </a:r>
          </a:p>
        </p:txBody>
      </p:sp>
      <p:grpSp>
        <p:nvGrpSpPr>
          <p:cNvPr id="16" name="Grupp 32">
            <a:extLst>
              <a:ext uri="{FF2B5EF4-FFF2-40B4-BE49-F238E27FC236}">
                <a16:creationId xmlns:a16="http://schemas.microsoft.com/office/drawing/2014/main" id="{17401CF1-3F91-0F47-A923-9A1A2A3023B9}"/>
              </a:ext>
            </a:extLst>
          </p:cNvPr>
          <p:cNvGrpSpPr/>
          <p:nvPr userDrawn="1"/>
        </p:nvGrpSpPr>
        <p:grpSpPr>
          <a:xfrm>
            <a:off x="576140" y="6451484"/>
            <a:ext cx="615478" cy="91194"/>
            <a:chOff x="576140" y="6451484"/>
            <a:chExt cx="615478" cy="91194"/>
          </a:xfrm>
          <a:solidFill>
            <a:schemeClr val="tx2"/>
          </a:solidFill>
        </p:grpSpPr>
        <p:sp>
          <p:nvSpPr>
            <p:cNvPr id="17" name="Bild 2">
              <a:extLst>
                <a:ext uri="{FF2B5EF4-FFF2-40B4-BE49-F238E27FC236}">
                  <a16:creationId xmlns:a16="http://schemas.microsoft.com/office/drawing/2014/main" id="{6E1496DD-0A73-2C4B-A73D-9853A322E4A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26EC65F1-F77C-C041-A72C-B8486ACEF795}"/>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BD9DE731-8F91-FA4B-933B-DD044D82DC0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98AC7FAE-AFF1-334E-B393-6CABABAF7EE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55E86661-61FC-8049-B7AF-BB48D69AC52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403B29A7-4A9C-1246-9825-8722C2E02A6C}"/>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498EB4C4-F4C0-FC43-9E36-A6C23E4D712A}"/>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4" name="Platshållare för datum 3">
            <a:extLst>
              <a:ext uri="{FF2B5EF4-FFF2-40B4-BE49-F238E27FC236}">
                <a16:creationId xmlns:a16="http://schemas.microsoft.com/office/drawing/2014/main" id="{05B7D8D8-FA56-7444-B9DF-B930B350D6A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6623E28-113A-4E62-8D4B-7C96C413EFF3}" type="datetime1">
              <a:rPr lang="en-US" noProof="0" smtClean="0"/>
              <a:t>11/1/2023</a:t>
            </a:fld>
            <a:endParaRPr lang="en-US" noProof="0"/>
          </a:p>
        </p:txBody>
      </p:sp>
      <p:sp>
        <p:nvSpPr>
          <p:cNvPr id="15" name="Platshållare för sidfot 4">
            <a:extLst>
              <a:ext uri="{FF2B5EF4-FFF2-40B4-BE49-F238E27FC236}">
                <a16:creationId xmlns:a16="http://schemas.microsoft.com/office/drawing/2014/main" id="{B12F39BA-DDC1-D847-AE0B-C964A9E60ED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5" name="Platshållare för bildnummer 5">
            <a:extLst>
              <a:ext uri="{FF2B5EF4-FFF2-40B4-BE49-F238E27FC236}">
                <a16:creationId xmlns:a16="http://schemas.microsoft.com/office/drawing/2014/main" id="{BEA161A3-DC82-9B4C-9CC6-B04CF9A6D8E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084688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hapter Slide Blue with Image">
    <p:bg>
      <p:bgPr>
        <a:solidFill>
          <a:schemeClr val="tx2"/>
        </a:solidFill>
        <a:effectLst/>
      </p:bgPr>
    </p:bg>
    <p:spTree>
      <p:nvGrpSpPr>
        <p:cNvPr id="1" name=""/>
        <p:cNvGrpSpPr/>
        <p:nvPr/>
      </p:nvGrpSpPr>
      <p:grpSpPr>
        <a:xfrm>
          <a:off x="0" y="0"/>
          <a:ext cx="0" cy="0"/>
          <a:chOff x="0" y="0"/>
          <a:chExt cx="0" cy="0"/>
        </a:xfrm>
      </p:grpSpPr>
      <p:sp>
        <p:nvSpPr>
          <p:cNvPr id="18" name="Picture Placeholder 6">
            <a:extLst>
              <a:ext uri="{FF2B5EF4-FFF2-40B4-BE49-F238E27FC236}">
                <a16:creationId xmlns:a16="http://schemas.microsoft.com/office/drawing/2014/main" id="{106399E1-1DE8-EE44-81BD-42302CB5679F}"/>
              </a:ext>
            </a:extLst>
          </p:cNvPr>
          <p:cNvSpPr>
            <a:spLocks noGrp="1"/>
          </p:cNvSpPr>
          <p:nvPr>
            <p:ph type="pic" sz="quarter" idx="17" hasCustomPrompt="1"/>
          </p:nvPr>
        </p:nvSpPr>
        <p:spPr>
          <a:xfrm>
            <a:off x="8140700" y="0"/>
            <a:ext cx="4051300" cy="6871252"/>
          </a:xfrm>
          <a:solidFill>
            <a:schemeClr val="bg1">
              <a:lumMod val="85000"/>
            </a:schemeClr>
          </a:solidFill>
        </p:spPr>
        <p:txBody>
          <a:bodyPr lIns="36000" tIns="36000"/>
          <a:lstStyle>
            <a:lvl1pPr marL="1270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300">
                <a:solidFill>
                  <a:schemeClr val="tx2"/>
                </a:solidFill>
              </a:defRPr>
            </a:lvl1pPr>
          </a:lstStyle>
          <a:p>
            <a:pPr marL="1270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dirty="0"/>
              <a:t>Click on the icon to add an image</a:t>
            </a:r>
          </a:p>
          <a:p>
            <a:endParaRPr lang="en-US" noProof="0" dirty="0"/>
          </a:p>
        </p:txBody>
      </p:sp>
      <p:sp>
        <p:nvSpPr>
          <p:cNvPr id="21" name="Text Placeholder 18">
            <a:extLst>
              <a:ext uri="{FF2B5EF4-FFF2-40B4-BE49-F238E27FC236}">
                <a16:creationId xmlns:a16="http://schemas.microsoft.com/office/drawing/2014/main" id="{50055E5E-7191-EB40-B5EB-0E791AADEDE6}"/>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bg1"/>
                </a:solidFill>
                <a:latin typeface="+mj-lt"/>
              </a:defRPr>
            </a:lvl1pPr>
          </a:lstStyle>
          <a:p>
            <a:pPr lvl="0"/>
            <a:r>
              <a:rPr lang="en-US" noProof="0" dirty="0"/>
              <a:t>Click to add a headline </a:t>
            </a:r>
            <a:br>
              <a:rPr lang="en-US" noProof="0" dirty="0"/>
            </a:br>
            <a:r>
              <a:rPr lang="en-US" noProof="0" dirty="0"/>
              <a:t>of maximum two lines</a:t>
            </a:r>
          </a:p>
        </p:txBody>
      </p:sp>
      <p:sp>
        <p:nvSpPr>
          <p:cNvPr id="15" name="textruta 5">
            <a:extLst>
              <a:ext uri="{FF2B5EF4-FFF2-40B4-BE49-F238E27FC236}">
                <a16:creationId xmlns:a16="http://schemas.microsoft.com/office/drawing/2014/main" id="{5BB9A0DA-E9F3-704C-BDCF-FC259DAC129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6" name="textruta 15">
            <a:extLst>
              <a:ext uri="{FF2B5EF4-FFF2-40B4-BE49-F238E27FC236}">
                <a16:creationId xmlns:a16="http://schemas.microsoft.com/office/drawing/2014/main" id="{DE5DD293-B27B-7A43-85D7-BD43BA58609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A750B50A-9D17-1447-8213-B2935EA38090}"/>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805FC0CB-297F-3541-A68A-BD42D318750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C1E656AC-D790-6747-BBCB-773F08CF710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189CDCF-0E85-4F0B-B361-2EC90AEF7F27}" type="datetime1">
              <a:rPr lang="en-US" smtClean="0"/>
              <a:t>11/1/2023</a:t>
            </a:fld>
            <a:endParaRPr lang="en-US"/>
          </a:p>
        </p:txBody>
      </p:sp>
      <p:sp>
        <p:nvSpPr>
          <p:cNvPr id="13" name="Platshållare för sidfot 4">
            <a:extLst>
              <a:ext uri="{FF2B5EF4-FFF2-40B4-BE49-F238E27FC236}">
                <a16:creationId xmlns:a16="http://schemas.microsoft.com/office/drawing/2014/main" id="{40B4A8CA-2E45-A045-B4BB-84023FBA6237}"/>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4" name="Platshållare för bildnummer 5">
            <a:extLst>
              <a:ext uri="{FF2B5EF4-FFF2-40B4-BE49-F238E27FC236}">
                <a16:creationId xmlns:a16="http://schemas.microsoft.com/office/drawing/2014/main" id="{C3BE8E53-4D78-2E41-90C4-8F359A150CF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AF3ED186-03E9-BF49-9B8A-A3A46C27486D}"/>
              </a:ext>
            </a:extLst>
          </p:cNvPr>
          <p:cNvGrpSpPr/>
          <p:nvPr userDrawn="1"/>
        </p:nvGrpSpPr>
        <p:grpSpPr>
          <a:xfrm>
            <a:off x="576140" y="6451484"/>
            <a:ext cx="615478" cy="91194"/>
            <a:chOff x="576140" y="6451484"/>
            <a:chExt cx="615478" cy="91194"/>
          </a:xfrm>
          <a:solidFill>
            <a:schemeClr val="bg1"/>
          </a:solidFill>
        </p:grpSpPr>
        <p:sp>
          <p:nvSpPr>
            <p:cNvPr id="22" name="Bild 2">
              <a:extLst>
                <a:ext uri="{FF2B5EF4-FFF2-40B4-BE49-F238E27FC236}">
                  <a16:creationId xmlns:a16="http://schemas.microsoft.com/office/drawing/2014/main" id="{5D042DC5-C8A9-A442-8F32-57CD5268BF3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49009F17-D779-5145-9AC9-A4741D09DA8A}"/>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AF2DB5F-29AA-F344-B820-7625411CFA14}"/>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3D982866-6026-7843-B715-D5599284755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915BDE88-4874-DF43-B095-7EDD389D143D}"/>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E7B51E0D-BC49-D54F-9169-3AEFCD179A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B673B569-AEC2-0F44-9550-4C24E96FE9F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0" name="Text Placeholder 4">
            <a:extLst>
              <a:ext uri="{FF2B5EF4-FFF2-40B4-BE49-F238E27FC236}">
                <a16:creationId xmlns:a16="http://schemas.microsoft.com/office/drawing/2014/main" id="{657B6F63-B2D3-B645-A8B9-059B9204452A}"/>
              </a:ext>
            </a:extLst>
          </p:cNvPr>
          <p:cNvSpPr>
            <a:spLocks noGrp="1"/>
          </p:cNvSpPr>
          <p:nvPr>
            <p:ph type="body" sz="quarter" idx="18"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3714778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theme" Target="../theme/theme2.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3.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825B2822-A321-45B7-9957-B7E679D34C1E}"/>
              </a:ext>
            </a:extLst>
          </p:cNvPr>
          <p:cNvSpPr>
            <a:spLocks noGrp="1"/>
          </p:cNvSpPr>
          <p:nvPr>
            <p:ph type="title"/>
          </p:nvPr>
        </p:nvSpPr>
        <p:spPr>
          <a:xfrm>
            <a:off x="576000" y="723600"/>
            <a:ext cx="11021062" cy="576000"/>
          </a:xfrm>
          <a:prstGeom prst="rect">
            <a:avLst/>
          </a:prstGeom>
        </p:spPr>
        <p:txBody>
          <a:bodyPr vert="horz" lIns="0" tIns="0" rIns="0" bIns="0" rtlCol="0" anchor="ctr">
            <a:noAutofit/>
          </a:bodyPr>
          <a:lstStyle/>
          <a:p>
            <a:r>
              <a:rPr lang="en-US" noProof="0" dirty="0"/>
              <a:t>Click to edit Master title slide</a:t>
            </a:r>
          </a:p>
        </p:txBody>
      </p:sp>
      <p:grpSp>
        <p:nvGrpSpPr>
          <p:cNvPr id="34" name="Grid" hidden="1">
            <a:extLst>
              <a:ext uri="{FF2B5EF4-FFF2-40B4-BE49-F238E27FC236}">
                <a16:creationId xmlns:a16="http://schemas.microsoft.com/office/drawing/2014/main" id="{8B59028C-0DAB-C346-BDE4-CCBFEC3EE037}"/>
              </a:ext>
            </a:extLst>
          </p:cNvPr>
          <p:cNvGrpSpPr/>
          <p:nvPr userDrawn="1"/>
        </p:nvGrpSpPr>
        <p:grpSpPr>
          <a:xfrm>
            <a:off x="-1" y="-8036"/>
            <a:ext cx="12192001" cy="6866036"/>
            <a:chOff x="-1" y="-8036"/>
            <a:chExt cx="12192001" cy="6866036"/>
          </a:xfrm>
        </p:grpSpPr>
        <p:cxnSp>
          <p:nvCxnSpPr>
            <p:cNvPr id="7" name="Rak 5">
              <a:extLst>
                <a:ext uri="{FF2B5EF4-FFF2-40B4-BE49-F238E27FC236}">
                  <a16:creationId xmlns:a16="http://schemas.microsoft.com/office/drawing/2014/main" id="{1EFE181E-871B-AD44-8AAE-DFD0DE08A355}"/>
                </a:ext>
              </a:extLst>
            </p:cNvPr>
            <p:cNvCxnSpPr/>
            <p:nvPr userDrawn="1"/>
          </p:nvCxnSpPr>
          <p:spPr>
            <a:xfrm>
              <a:off x="5746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ak 6">
              <a:extLst>
                <a:ext uri="{FF2B5EF4-FFF2-40B4-BE49-F238E27FC236}">
                  <a16:creationId xmlns:a16="http://schemas.microsoft.com/office/drawing/2014/main" id="{9D5972F3-574F-DC4A-BCF8-2DA1913F0186}"/>
                </a:ext>
              </a:extLst>
            </p:cNvPr>
            <p:cNvCxnSpPr/>
            <p:nvPr userDrawn="1"/>
          </p:nvCxnSpPr>
          <p:spPr>
            <a:xfrm>
              <a:off x="216852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Rak 7">
              <a:extLst>
                <a:ext uri="{FF2B5EF4-FFF2-40B4-BE49-F238E27FC236}">
                  <a16:creationId xmlns:a16="http://schemas.microsoft.com/office/drawing/2014/main" id="{3D14882A-7F22-A449-A1E4-7EDAE587983B}"/>
                </a:ext>
              </a:extLst>
            </p:cNvPr>
            <p:cNvCxnSpPr/>
            <p:nvPr userDrawn="1"/>
          </p:nvCxnSpPr>
          <p:spPr>
            <a:xfrm>
              <a:off x="2464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Rak 8">
              <a:extLst>
                <a:ext uri="{FF2B5EF4-FFF2-40B4-BE49-F238E27FC236}">
                  <a16:creationId xmlns:a16="http://schemas.microsoft.com/office/drawing/2014/main" id="{BA03D361-78D9-0948-8E3E-E8FE9D3CCCC2}"/>
                </a:ext>
              </a:extLst>
            </p:cNvPr>
            <p:cNvCxnSpPr/>
            <p:nvPr userDrawn="1"/>
          </p:nvCxnSpPr>
          <p:spPr>
            <a:xfrm>
              <a:off x="4059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Rak 9">
              <a:extLst>
                <a:ext uri="{FF2B5EF4-FFF2-40B4-BE49-F238E27FC236}">
                  <a16:creationId xmlns:a16="http://schemas.microsoft.com/office/drawing/2014/main" id="{2CB47529-BFFA-F74E-B22E-BCAF91672C8B}"/>
                </a:ext>
              </a:extLst>
            </p:cNvPr>
            <p:cNvCxnSpPr/>
            <p:nvPr userDrawn="1"/>
          </p:nvCxnSpPr>
          <p:spPr>
            <a:xfrm>
              <a:off x="43440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Rak 10">
              <a:extLst>
                <a:ext uri="{FF2B5EF4-FFF2-40B4-BE49-F238E27FC236}">
                  <a16:creationId xmlns:a16="http://schemas.microsoft.com/office/drawing/2014/main" id="{63C34ABE-C959-624C-A3DB-9708278B37BB}"/>
                </a:ext>
              </a:extLst>
            </p:cNvPr>
            <p:cNvCxnSpPr/>
            <p:nvPr userDrawn="1"/>
          </p:nvCxnSpPr>
          <p:spPr>
            <a:xfrm>
              <a:off x="5949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Rak 11">
              <a:extLst>
                <a:ext uri="{FF2B5EF4-FFF2-40B4-BE49-F238E27FC236}">
                  <a16:creationId xmlns:a16="http://schemas.microsoft.com/office/drawing/2014/main" id="{E769680E-F889-8D4E-AC68-94BE9052D33E}"/>
                </a:ext>
              </a:extLst>
            </p:cNvPr>
            <p:cNvCxnSpPr/>
            <p:nvPr userDrawn="1"/>
          </p:nvCxnSpPr>
          <p:spPr>
            <a:xfrm>
              <a:off x="623379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Rak 12">
              <a:extLst>
                <a:ext uri="{FF2B5EF4-FFF2-40B4-BE49-F238E27FC236}">
                  <a16:creationId xmlns:a16="http://schemas.microsoft.com/office/drawing/2014/main" id="{EDD4A6A7-499C-5A4A-840D-AF0BB5CEE2C0}"/>
                </a:ext>
              </a:extLst>
            </p:cNvPr>
            <p:cNvCxnSpPr/>
            <p:nvPr userDrawn="1"/>
          </p:nvCxnSpPr>
          <p:spPr>
            <a:xfrm>
              <a:off x="78390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Rak 13">
              <a:extLst>
                <a:ext uri="{FF2B5EF4-FFF2-40B4-BE49-F238E27FC236}">
                  <a16:creationId xmlns:a16="http://schemas.microsoft.com/office/drawing/2014/main" id="{FA59B691-FE8F-6E40-A047-331F4B6F58EC}"/>
                </a:ext>
              </a:extLst>
            </p:cNvPr>
            <p:cNvCxnSpPr/>
            <p:nvPr userDrawn="1"/>
          </p:nvCxnSpPr>
          <p:spPr>
            <a:xfrm>
              <a:off x="8123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Rak 14">
              <a:extLst>
                <a:ext uri="{FF2B5EF4-FFF2-40B4-BE49-F238E27FC236}">
                  <a16:creationId xmlns:a16="http://schemas.microsoft.com/office/drawing/2014/main" id="{9FD80A21-7531-914A-AF87-16C5ECA9E2FD}"/>
                </a:ext>
              </a:extLst>
            </p:cNvPr>
            <p:cNvCxnSpPr/>
            <p:nvPr userDrawn="1"/>
          </p:nvCxnSpPr>
          <p:spPr>
            <a:xfrm>
              <a:off x="97288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Rak 15">
              <a:extLst>
                <a:ext uri="{FF2B5EF4-FFF2-40B4-BE49-F238E27FC236}">
                  <a16:creationId xmlns:a16="http://schemas.microsoft.com/office/drawing/2014/main" id="{1571C2E8-E1D1-F04A-8325-BC47DE02B6E1}"/>
                </a:ext>
              </a:extLst>
            </p:cNvPr>
            <p:cNvCxnSpPr/>
            <p:nvPr userDrawn="1"/>
          </p:nvCxnSpPr>
          <p:spPr>
            <a:xfrm>
              <a:off x="10013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Rak 16">
              <a:extLst>
                <a:ext uri="{FF2B5EF4-FFF2-40B4-BE49-F238E27FC236}">
                  <a16:creationId xmlns:a16="http://schemas.microsoft.com/office/drawing/2014/main" id="{EE96282C-29E0-324D-A57B-8DA5899B130F}"/>
                </a:ext>
              </a:extLst>
            </p:cNvPr>
            <p:cNvCxnSpPr/>
            <p:nvPr userDrawn="1"/>
          </p:nvCxnSpPr>
          <p:spPr>
            <a:xfrm>
              <a:off x="11608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Rak 18">
              <a:extLst>
                <a:ext uri="{FF2B5EF4-FFF2-40B4-BE49-F238E27FC236}">
                  <a16:creationId xmlns:a16="http://schemas.microsoft.com/office/drawing/2014/main" id="{536C4DC2-C1BD-BF40-822F-968A882DC849}"/>
                </a:ext>
              </a:extLst>
            </p:cNvPr>
            <p:cNvCxnSpPr/>
            <p:nvPr userDrawn="1"/>
          </p:nvCxnSpPr>
          <p:spPr>
            <a:xfrm>
              <a:off x="0" y="34290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Rak 19">
              <a:extLst>
                <a:ext uri="{FF2B5EF4-FFF2-40B4-BE49-F238E27FC236}">
                  <a16:creationId xmlns:a16="http://schemas.microsoft.com/office/drawing/2014/main" id="{1C19E2E0-0F88-D940-B79A-4F48A4E16DBF}"/>
                </a:ext>
              </a:extLst>
            </p:cNvPr>
            <p:cNvCxnSpPr/>
            <p:nvPr userDrawn="1"/>
          </p:nvCxnSpPr>
          <p:spPr>
            <a:xfrm>
              <a:off x="0" y="71628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Rak 20">
              <a:extLst>
                <a:ext uri="{FF2B5EF4-FFF2-40B4-BE49-F238E27FC236}">
                  <a16:creationId xmlns:a16="http://schemas.microsoft.com/office/drawing/2014/main" id="{DF47D7D8-1177-5440-9D30-384D0310254F}"/>
                </a:ext>
              </a:extLst>
            </p:cNvPr>
            <p:cNvCxnSpPr/>
            <p:nvPr userDrawn="1"/>
          </p:nvCxnSpPr>
          <p:spPr>
            <a:xfrm>
              <a:off x="0" y="613156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upp 36">
              <a:extLst>
                <a:ext uri="{FF2B5EF4-FFF2-40B4-BE49-F238E27FC236}">
                  <a16:creationId xmlns:a16="http://schemas.microsoft.com/office/drawing/2014/main" id="{4073CAF2-D231-AA4E-B64C-4F29C3524743}"/>
                </a:ext>
              </a:extLst>
            </p:cNvPr>
            <p:cNvGrpSpPr/>
            <p:nvPr userDrawn="1"/>
          </p:nvGrpSpPr>
          <p:grpSpPr>
            <a:xfrm>
              <a:off x="-1" y="-8036"/>
              <a:ext cx="2513041" cy="1609752"/>
              <a:chOff x="-1" y="-8036"/>
              <a:chExt cx="2513041" cy="1609752"/>
            </a:xfrm>
          </p:grpSpPr>
          <p:sp>
            <p:nvSpPr>
              <p:cNvPr id="23" name="textruta 27">
                <a:extLst>
                  <a:ext uri="{FF2B5EF4-FFF2-40B4-BE49-F238E27FC236}">
                    <a16:creationId xmlns:a16="http://schemas.microsoft.com/office/drawing/2014/main" id="{408EBDF5-7E15-7E46-9D84-3C9DAC73CFEA}"/>
                  </a:ext>
                </a:extLst>
              </p:cNvPr>
              <p:cNvSpPr txBox="1"/>
              <p:nvPr/>
            </p:nvSpPr>
            <p:spPr>
              <a:xfrm>
                <a:off x="2128926" y="257555"/>
                <a:ext cx="3841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8 mm</a:t>
                </a:r>
              </a:p>
            </p:txBody>
          </p:sp>
          <p:sp>
            <p:nvSpPr>
              <p:cNvPr id="24" name="textruta 28">
                <a:extLst>
                  <a:ext uri="{FF2B5EF4-FFF2-40B4-BE49-F238E27FC236}">
                    <a16:creationId xmlns:a16="http://schemas.microsoft.com/office/drawing/2014/main" id="{59DAB34A-4CCD-084F-8415-4B0E6D9C875C}"/>
                  </a:ext>
                </a:extLst>
              </p:cNvPr>
              <p:cNvSpPr txBox="1"/>
              <p:nvPr/>
            </p:nvSpPr>
            <p:spPr>
              <a:xfrm>
                <a:off x="583563" y="259993"/>
                <a:ext cx="4704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20 mm</a:t>
                </a:r>
              </a:p>
            </p:txBody>
          </p:sp>
          <p:sp>
            <p:nvSpPr>
              <p:cNvPr id="25" name="textruta 29">
                <a:extLst>
                  <a:ext uri="{FF2B5EF4-FFF2-40B4-BE49-F238E27FC236}">
                    <a16:creationId xmlns:a16="http://schemas.microsoft.com/office/drawing/2014/main" id="{B0319B5D-5C11-CC4E-A42F-45B4A1495C3A}"/>
                  </a:ext>
                </a:extLst>
              </p:cNvPr>
              <p:cNvSpPr txBox="1"/>
              <p:nvPr/>
            </p:nvSpPr>
            <p:spPr>
              <a:xfrm>
                <a:off x="-1" y="1313356"/>
                <a:ext cx="5746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16 mm</a:t>
                </a:r>
              </a:p>
            </p:txBody>
          </p:sp>
          <p:cxnSp>
            <p:nvCxnSpPr>
              <p:cNvPr id="26" name="Rak 30">
                <a:extLst>
                  <a:ext uri="{FF2B5EF4-FFF2-40B4-BE49-F238E27FC236}">
                    <a16:creationId xmlns:a16="http://schemas.microsoft.com/office/drawing/2014/main" id="{7254C707-F54B-3341-9421-3BCE67F2FDE4}"/>
                  </a:ext>
                </a:extLst>
              </p:cNvPr>
              <p:cNvCxnSpPr/>
              <p:nvPr/>
            </p:nvCxnSpPr>
            <p:spPr>
              <a:xfrm>
                <a:off x="1217245" y="-8036"/>
                <a:ext cx="0" cy="7207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Rak 31">
                <a:extLst>
                  <a:ext uri="{FF2B5EF4-FFF2-40B4-BE49-F238E27FC236}">
                    <a16:creationId xmlns:a16="http://schemas.microsoft.com/office/drawing/2014/main" id="{5CFF8254-561E-4946-85FF-5C226AFFC785}"/>
                  </a:ext>
                </a:extLst>
              </p:cNvPr>
              <p:cNvCxnSpPr>
                <a:cxnSpLocks/>
              </p:cNvCxnSpPr>
              <p:nvPr/>
            </p:nvCxnSpPr>
            <p:spPr>
              <a:xfrm>
                <a:off x="1128180" y="348224"/>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Rak 32">
                <a:extLst>
                  <a:ext uri="{FF2B5EF4-FFF2-40B4-BE49-F238E27FC236}">
                    <a16:creationId xmlns:a16="http://schemas.microsoft.com/office/drawing/2014/main" id="{0699D758-408B-E845-8449-FDF2F4CFE99E}"/>
                  </a:ext>
                </a:extLst>
              </p:cNvPr>
              <p:cNvCxnSpPr>
                <a:cxnSpLocks/>
              </p:cNvCxnSpPr>
              <p:nvPr/>
            </p:nvCxnSpPr>
            <p:spPr>
              <a:xfrm flipH="1">
                <a:off x="1" y="1601715"/>
                <a:ext cx="574675"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Rak 33">
                <a:extLst>
                  <a:ext uri="{FF2B5EF4-FFF2-40B4-BE49-F238E27FC236}">
                    <a16:creationId xmlns:a16="http://schemas.microsoft.com/office/drawing/2014/main" id="{D2C3CFE2-C214-F544-8C2B-B78316799C23}"/>
                  </a:ext>
                </a:extLst>
              </p:cNvPr>
              <p:cNvCxnSpPr>
                <a:cxnSpLocks/>
              </p:cNvCxnSpPr>
              <p:nvPr/>
            </p:nvCxnSpPr>
            <p:spPr>
              <a:xfrm rot="5400000">
                <a:off x="242806" y="1557183"/>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Rak 34">
                <a:extLst>
                  <a:ext uri="{FF2B5EF4-FFF2-40B4-BE49-F238E27FC236}">
                    <a16:creationId xmlns:a16="http://schemas.microsoft.com/office/drawing/2014/main" id="{66360723-ED83-5E43-99F0-C30D4860EB97}"/>
                  </a:ext>
                </a:extLst>
              </p:cNvPr>
              <p:cNvCxnSpPr>
                <a:cxnSpLocks/>
              </p:cNvCxnSpPr>
              <p:nvPr/>
            </p:nvCxnSpPr>
            <p:spPr>
              <a:xfrm flipH="1">
                <a:off x="2173859" y="545915"/>
                <a:ext cx="28994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Rak 35">
                <a:extLst>
                  <a:ext uri="{FF2B5EF4-FFF2-40B4-BE49-F238E27FC236}">
                    <a16:creationId xmlns:a16="http://schemas.microsoft.com/office/drawing/2014/main" id="{BBBC5458-E333-CF4F-B0CB-264B70DE25C4}"/>
                  </a:ext>
                </a:extLst>
              </p:cNvPr>
              <p:cNvCxnSpPr>
                <a:cxnSpLocks/>
              </p:cNvCxnSpPr>
              <p:nvPr/>
            </p:nvCxnSpPr>
            <p:spPr>
              <a:xfrm rot="5400000">
                <a:off x="2274297" y="501382"/>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 name="Text Placeholder 2">
            <a:extLst>
              <a:ext uri="{FF2B5EF4-FFF2-40B4-BE49-F238E27FC236}">
                <a16:creationId xmlns:a16="http://schemas.microsoft.com/office/drawing/2014/main" id="{B36444E1-9481-3246-8530-C77C48B222A1}"/>
              </a:ext>
            </a:extLst>
          </p:cNvPr>
          <p:cNvSpPr>
            <a:spLocks noGrp="1"/>
          </p:cNvSpPr>
          <p:nvPr>
            <p:ph type="body" idx="1"/>
          </p:nvPr>
        </p:nvSpPr>
        <p:spPr>
          <a:xfrm>
            <a:off x="576000" y="1825625"/>
            <a:ext cx="11028679" cy="4303713"/>
          </a:xfrm>
          <a:prstGeom prst="rect">
            <a:avLst/>
          </a:prstGeom>
        </p:spPr>
        <p:txBody>
          <a:bodyPr vert="horz" lIns="0" tIns="0" rIns="0"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US" noProof="0" dirty="0"/>
          </a:p>
        </p:txBody>
      </p:sp>
      <p:sp>
        <p:nvSpPr>
          <p:cNvPr id="33" name="Platshållare för datum 3">
            <a:extLst>
              <a:ext uri="{FF2B5EF4-FFF2-40B4-BE49-F238E27FC236}">
                <a16:creationId xmlns:a16="http://schemas.microsoft.com/office/drawing/2014/main" id="{C6A775F4-EF67-3D43-BE5D-3F7DA56F3FA1}"/>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49EFA050-0807-4129-B956-BF1A10E80282}" type="datetime1">
              <a:rPr lang="en-US" noProof="0" smtClean="0"/>
              <a:t>11/1/2023</a:t>
            </a:fld>
            <a:endParaRPr lang="en-US" noProof="0"/>
          </a:p>
        </p:txBody>
      </p:sp>
      <p:sp>
        <p:nvSpPr>
          <p:cNvPr id="36" name="Platshållare för sidfot 4">
            <a:extLst>
              <a:ext uri="{FF2B5EF4-FFF2-40B4-BE49-F238E27FC236}">
                <a16:creationId xmlns:a16="http://schemas.microsoft.com/office/drawing/2014/main" id="{DB93A96B-59FE-6D4B-856F-0028CF27BD8E}"/>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37" name="Platshållare för bildnummer 5">
            <a:extLst>
              <a:ext uri="{FF2B5EF4-FFF2-40B4-BE49-F238E27FC236}">
                <a16:creationId xmlns:a16="http://schemas.microsoft.com/office/drawing/2014/main" id="{18F7DC29-539A-474B-8BEC-B86F9CFC1AEC}"/>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273311421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 id="2147483717" r:id="rId4"/>
    <p:sldLayoutId id="2147483740" r:id="rId5"/>
    <p:sldLayoutId id="2147483743" r:id="rId6"/>
    <p:sldLayoutId id="2147483718" r:id="rId7"/>
    <p:sldLayoutId id="2147483719" r:id="rId8"/>
    <p:sldLayoutId id="2147483746" r:id="rId9"/>
    <p:sldLayoutId id="2147483726" r:id="rId10"/>
    <p:sldLayoutId id="2147483747" r:id="rId11"/>
    <p:sldLayoutId id="2147483744" r:id="rId12"/>
    <p:sldLayoutId id="2147483745" r:id="rId13"/>
    <p:sldLayoutId id="2147483663" r:id="rId14"/>
    <p:sldLayoutId id="2147483730" r:id="rId15"/>
    <p:sldLayoutId id="2147483733" r:id="rId16"/>
    <p:sldLayoutId id="2147483716" r:id="rId17"/>
    <p:sldLayoutId id="2147483722" r:id="rId18"/>
    <p:sldLayoutId id="2147483665" r:id="rId19"/>
    <p:sldLayoutId id="2147483666" r:id="rId20"/>
    <p:sldLayoutId id="2147483664" r:id="rId21"/>
    <p:sldLayoutId id="2147483742" r:id="rId22"/>
    <p:sldLayoutId id="2147483667" r:id="rId23"/>
    <p:sldLayoutId id="2147483668" r:id="rId24"/>
    <p:sldLayoutId id="2147483669" r:id="rId25"/>
    <p:sldLayoutId id="2147483670" r:id="rId26"/>
    <p:sldLayoutId id="2147483671" r:id="rId27"/>
    <p:sldLayoutId id="2147483672" r:id="rId28"/>
    <p:sldLayoutId id="2147483685" r:id="rId29"/>
    <p:sldLayoutId id="2147483686" r:id="rId30"/>
    <p:sldLayoutId id="2147483674" r:id="rId31"/>
    <p:sldLayoutId id="2147483675" r:id="rId32"/>
    <p:sldLayoutId id="2147483676" r:id="rId33"/>
    <p:sldLayoutId id="2147483720" r:id="rId34"/>
    <p:sldLayoutId id="2147483681" r:id="rId35"/>
    <p:sldLayoutId id="2147483680" r:id="rId36"/>
    <p:sldLayoutId id="2147483679" r:id="rId37"/>
    <p:sldLayoutId id="2147483684" r:id="rId38"/>
    <p:sldLayoutId id="2147483683" r:id="rId39"/>
    <p:sldLayoutId id="2147483688" r:id="rId40"/>
    <p:sldLayoutId id="2147483687" r:id="rId41"/>
    <p:sldLayoutId id="2147483728" r:id="rId42"/>
    <p:sldLayoutId id="2147483727" r:id="rId43"/>
    <p:sldLayoutId id="2147483725" r:id="rId44"/>
    <p:sldLayoutId id="2147483734" r:id="rId45"/>
    <p:sldLayoutId id="2147483735" r:id="rId46"/>
    <p:sldLayoutId id="2147483736" r:id="rId47"/>
  </p:sldLayoutIdLst>
  <p:hf hdr="0" ftr="0" dt="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182563" indent="-176213" algn="l" defTabSz="914400" rtl="0" eaLnBrk="1" latinLnBrk="0" hangingPunct="1">
        <a:lnSpc>
          <a:spcPct val="100000"/>
        </a:lnSpc>
        <a:spcBef>
          <a:spcPts val="1000"/>
        </a:spcBef>
        <a:spcAft>
          <a:spcPts val="0"/>
        </a:spcAft>
        <a:buFont typeface="Arial" panose="020B0604020202020204" pitchFamily="34" charset="0"/>
        <a:buChar char="•"/>
        <a:tabLst/>
        <a:defRPr sz="1800" b="0" kern="1200" spc="40" baseline="0">
          <a:solidFill>
            <a:schemeClr val="tx2"/>
          </a:solidFill>
          <a:latin typeface="+mn-lt"/>
          <a:ea typeface="+mn-ea"/>
          <a:cs typeface="+mn-cs"/>
        </a:defRPr>
      </a:lvl1pPr>
      <a:lvl2pPr marL="357188" indent="-176213" algn="l" defTabSz="914400" rtl="0" eaLnBrk="1" latinLnBrk="0" hangingPunct="1">
        <a:lnSpc>
          <a:spcPct val="100000"/>
        </a:lnSpc>
        <a:spcBef>
          <a:spcPts val="500"/>
        </a:spcBef>
        <a:spcAft>
          <a:spcPts val="0"/>
        </a:spcAft>
        <a:buFont typeface="Arial" panose="020B0604020202020204" pitchFamily="34" charset="0"/>
        <a:buChar char="•"/>
        <a:tabLst/>
        <a:defRPr sz="1800" kern="1200" spc="40" baseline="0">
          <a:solidFill>
            <a:schemeClr val="tx2"/>
          </a:solidFill>
          <a:latin typeface="+mn-lt"/>
          <a:ea typeface="+mn-ea"/>
          <a:cs typeface="+mn-cs"/>
        </a:defRPr>
      </a:lvl2pPr>
      <a:lvl3pPr marL="534988" indent="-177800" algn="l" defTabSz="914400" rtl="0" eaLnBrk="1" latinLnBrk="0" hangingPunct="1">
        <a:lnSpc>
          <a:spcPct val="100000"/>
        </a:lnSpc>
        <a:spcBef>
          <a:spcPts val="500"/>
        </a:spcBef>
        <a:spcAft>
          <a:spcPts val="0"/>
        </a:spcAft>
        <a:buFont typeface="Arial" panose="020B0604020202020204" pitchFamily="34" charset="0"/>
        <a:buChar char="•"/>
        <a:tabLst/>
        <a:defRPr sz="1600" kern="1200" spc="40" baseline="0">
          <a:solidFill>
            <a:schemeClr val="tx2"/>
          </a:solidFill>
          <a:latin typeface="+mn-lt"/>
          <a:ea typeface="+mn-ea"/>
          <a:cs typeface="+mn-cs"/>
        </a:defRPr>
      </a:lvl3pPr>
      <a:lvl4pPr marL="715963" indent="-1764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4pPr>
      <a:lvl5pPr marL="892175" indent="-176213"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BAE40"/>
          </p15:clr>
        </p15:guide>
        <p15:guide id="2" pos="3840" userDrawn="1">
          <p15:clr>
            <a:srgbClr val="FBAE40"/>
          </p15:clr>
        </p15:guide>
        <p15:guide id="3" pos="363" userDrawn="1">
          <p15:clr>
            <a:srgbClr val="000000"/>
          </p15:clr>
        </p15:guide>
        <p15:guide id="4" pos="7317" userDrawn="1">
          <p15:clr>
            <a:srgbClr val="000000"/>
          </p15:clr>
        </p15:guide>
        <p15:guide id="5" orient="horz" pos="454" userDrawn="1">
          <p15:clr>
            <a:srgbClr val="000000"/>
          </p15:clr>
        </p15:guide>
        <p15:guide id="6" pos="2739" userDrawn="1">
          <p15:clr>
            <a:srgbClr val="A4A3A4"/>
          </p15:clr>
        </p15:guide>
        <p15:guide id="7" pos="1553" userDrawn="1">
          <p15:clr>
            <a:srgbClr val="A4A3A4"/>
          </p15:clr>
        </p15:guide>
        <p15:guide id="9" pos="3750" userDrawn="1">
          <p15:clr>
            <a:srgbClr val="A4A3A4"/>
          </p15:clr>
        </p15:guide>
        <p15:guide id="10" pos="3930" userDrawn="1">
          <p15:clr>
            <a:srgbClr val="A4A3A4"/>
          </p15:clr>
        </p15:guide>
        <p15:guide id="11" pos="4932" userDrawn="1">
          <p15:clr>
            <a:srgbClr val="A4A3A4"/>
          </p15:clr>
        </p15:guide>
        <p15:guide id="12" pos="5120" userDrawn="1">
          <p15:clr>
            <a:srgbClr val="A4A3A4"/>
          </p15:clr>
        </p15:guide>
        <p15:guide id="13" pos="6123" userDrawn="1">
          <p15:clr>
            <a:srgbClr val="A4A3A4"/>
          </p15:clr>
        </p15:guide>
        <p15:guide id="15" orient="horz" pos="3861" userDrawn="1">
          <p15:clr>
            <a:srgbClr val="000000"/>
          </p15:clr>
        </p15:guide>
        <p15:guide id="17" pos="1370" userDrawn="1">
          <p15:clr>
            <a:srgbClr val="A4A3A4"/>
          </p15:clr>
        </p15:guide>
        <p15:guide id="18" orient="horz" pos="4122" userDrawn="1">
          <p15:clr>
            <a:srgbClr val="A4A3A4"/>
          </p15:clr>
        </p15:guide>
        <p15:guide id="19" orient="horz" pos="2092" userDrawn="1">
          <p15:clr>
            <a:srgbClr val="A4A3A4"/>
          </p15:clr>
        </p15:guide>
        <p15:guide id="20" orient="horz" pos="2228" userDrawn="1">
          <p15:clr>
            <a:srgbClr val="A4A3A4"/>
          </p15:clr>
        </p15:guide>
        <p15:guide id="21" pos="6306" userDrawn="1">
          <p15:clr>
            <a:srgbClr val="A4A3A4"/>
          </p15:clr>
        </p15:guide>
        <p15:guide id="22" pos="2556"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825B2822-A321-45B7-9957-B7E679D34C1E}"/>
              </a:ext>
            </a:extLst>
          </p:cNvPr>
          <p:cNvSpPr>
            <a:spLocks noGrp="1"/>
          </p:cNvSpPr>
          <p:nvPr>
            <p:ph type="title"/>
          </p:nvPr>
        </p:nvSpPr>
        <p:spPr>
          <a:xfrm>
            <a:off x="576000" y="723600"/>
            <a:ext cx="11021062" cy="576000"/>
          </a:xfrm>
          <a:prstGeom prst="rect">
            <a:avLst/>
          </a:prstGeom>
        </p:spPr>
        <p:txBody>
          <a:bodyPr vert="horz" lIns="0" tIns="0" rIns="0" bIns="0" rtlCol="0" anchor="ctr">
            <a:noAutofit/>
          </a:bodyPr>
          <a:lstStyle/>
          <a:p>
            <a:r>
              <a:rPr lang="en-US" noProof="0" dirty="0"/>
              <a:t>Click to edit Master title slide</a:t>
            </a:r>
          </a:p>
        </p:txBody>
      </p:sp>
      <p:grpSp>
        <p:nvGrpSpPr>
          <p:cNvPr id="34" name="Grid" hidden="1">
            <a:extLst>
              <a:ext uri="{FF2B5EF4-FFF2-40B4-BE49-F238E27FC236}">
                <a16:creationId xmlns:a16="http://schemas.microsoft.com/office/drawing/2014/main" id="{8B59028C-0DAB-C346-BDE4-CCBFEC3EE037}"/>
              </a:ext>
            </a:extLst>
          </p:cNvPr>
          <p:cNvGrpSpPr/>
          <p:nvPr userDrawn="1"/>
        </p:nvGrpSpPr>
        <p:grpSpPr>
          <a:xfrm>
            <a:off x="-1" y="-8036"/>
            <a:ext cx="12192001" cy="6866036"/>
            <a:chOff x="-1" y="-8036"/>
            <a:chExt cx="12192001" cy="6866036"/>
          </a:xfrm>
        </p:grpSpPr>
        <p:cxnSp>
          <p:nvCxnSpPr>
            <p:cNvPr id="7" name="Rak 5">
              <a:extLst>
                <a:ext uri="{FF2B5EF4-FFF2-40B4-BE49-F238E27FC236}">
                  <a16:creationId xmlns:a16="http://schemas.microsoft.com/office/drawing/2014/main" id="{1EFE181E-871B-AD44-8AAE-DFD0DE08A355}"/>
                </a:ext>
              </a:extLst>
            </p:cNvPr>
            <p:cNvCxnSpPr/>
            <p:nvPr userDrawn="1"/>
          </p:nvCxnSpPr>
          <p:spPr>
            <a:xfrm>
              <a:off x="5746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ak 6">
              <a:extLst>
                <a:ext uri="{FF2B5EF4-FFF2-40B4-BE49-F238E27FC236}">
                  <a16:creationId xmlns:a16="http://schemas.microsoft.com/office/drawing/2014/main" id="{9D5972F3-574F-DC4A-BCF8-2DA1913F0186}"/>
                </a:ext>
              </a:extLst>
            </p:cNvPr>
            <p:cNvCxnSpPr/>
            <p:nvPr userDrawn="1"/>
          </p:nvCxnSpPr>
          <p:spPr>
            <a:xfrm>
              <a:off x="216852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Rak 7">
              <a:extLst>
                <a:ext uri="{FF2B5EF4-FFF2-40B4-BE49-F238E27FC236}">
                  <a16:creationId xmlns:a16="http://schemas.microsoft.com/office/drawing/2014/main" id="{3D14882A-7F22-A449-A1E4-7EDAE587983B}"/>
                </a:ext>
              </a:extLst>
            </p:cNvPr>
            <p:cNvCxnSpPr/>
            <p:nvPr userDrawn="1"/>
          </p:nvCxnSpPr>
          <p:spPr>
            <a:xfrm>
              <a:off x="2464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Rak 8">
              <a:extLst>
                <a:ext uri="{FF2B5EF4-FFF2-40B4-BE49-F238E27FC236}">
                  <a16:creationId xmlns:a16="http://schemas.microsoft.com/office/drawing/2014/main" id="{BA03D361-78D9-0948-8E3E-E8FE9D3CCCC2}"/>
                </a:ext>
              </a:extLst>
            </p:cNvPr>
            <p:cNvCxnSpPr/>
            <p:nvPr userDrawn="1"/>
          </p:nvCxnSpPr>
          <p:spPr>
            <a:xfrm>
              <a:off x="4059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Rak 9">
              <a:extLst>
                <a:ext uri="{FF2B5EF4-FFF2-40B4-BE49-F238E27FC236}">
                  <a16:creationId xmlns:a16="http://schemas.microsoft.com/office/drawing/2014/main" id="{2CB47529-BFFA-F74E-B22E-BCAF91672C8B}"/>
                </a:ext>
              </a:extLst>
            </p:cNvPr>
            <p:cNvCxnSpPr/>
            <p:nvPr userDrawn="1"/>
          </p:nvCxnSpPr>
          <p:spPr>
            <a:xfrm>
              <a:off x="43440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Rak 10">
              <a:extLst>
                <a:ext uri="{FF2B5EF4-FFF2-40B4-BE49-F238E27FC236}">
                  <a16:creationId xmlns:a16="http://schemas.microsoft.com/office/drawing/2014/main" id="{63C34ABE-C959-624C-A3DB-9708278B37BB}"/>
                </a:ext>
              </a:extLst>
            </p:cNvPr>
            <p:cNvCxnSpPr/>
            <p:nvPr userDrawn="1"/>
          </p:nvCxnSpPr>
          <p:spPr>
            <a:xfrm>
              <a:off x="5949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Rak 11">
              <a:extLst>
                <a:ext uri="{FF2B5EF4-FFF2-40B4-BE49-F238E27FC236}">
                  <a16:creationId xmlns:a16="http://schemas.microsoft.com/office/drawing/2014/main" id="{E769680E-F889-8D4E-AC68-94BE9052D33E}"/>
                </a:ext>
              </a:extLst>
            </p:cNvPr>
            <p:cNvCxnSpPr/>
            <p:nvPr userDrawn="1"/>
          </p:nvCxnSpPr>
          <p:spPr>
            <a:xfrm>
              <a:off x="623379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Rak 12">
              <a:extLst>
                <a:ext uri="{FF2B5EF4-FFF2-40B4-BE49-F238E27FC236}">
                  <a16:creationId xmlns:a16="http://schemas.microsoft.com/office/drawing/2014/main" id="{EDD4A6A7-499C-5A4A-840D-AF0BB5CEE2C0}"/>
                </a:ext>
              </a:extLst>
            </p:cNvPr>
            <p:cNvCxnSpPr/>
            <p:nvPr userDrawn="1"/>
          </p:nvCxnSpPr>
          <p:spPr>
            <a:xfrm>
              <a:off x="78390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Rak 13">
              <a:extLst>
                <a:ext uri="{FF2B5EF4-FFF2-40B4-BE49-F238E27FC236}">
                  <a16:creationId xmlns:a16="http://schemas.microsoft.com/office/drawing/2014/main" id="{FA59B691-FE8F-6E40-A047-331F4B6F58EC}"/>
                </a:ext>
              </a:extLst>
            </p:cNvPr>
            <p:cNvCxnSpPr/>
            <p:nvPr userDrawn="1"/>
          </p:nvCxnSpPr>
          <p:spPr>
            <a:xfrm>
              <a:off x="8123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Rak 14">
              <a:extLst>
                <a:ext uri="{FF2B5EF4-FFF2-40B4-BE49-F238E27FC236}">
                  <a16:creationId xmlns:a16="http://schemas.microsoft.com/office/drawing/2014/main" id="{9FD80A21-7531-914A-AF87-16C5ECA9E2FD}"/>
                </a:ext>
              </a:extLst>
            </p:cNvPr>
            <p:cNvCxnSpPr/>
            <p:nvPr userDrawn="1"/>
          </p:nvCxnSpPr>
          <p:spPr>
            <a:xfrm>
              <a:off x="97288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Rak 15">
              <a:extLst>
                <a:ext uri="{FF2B5EF4-FFF2-40B4-BE49-F238E27FC236}">
                  <a16:creationId xmlns:a16="http://schemas.microsoft.com/office/drawing/2014/main" id="{1571C2E8-E1D1-F04A-8325-BC47DE02B6E1}"/>
                </a:ext>
              </a:extLst>
            </p:cNvPr>
            <p:cNvCxnSpPr/>
            <p:nvPr userDrawn="1"/>
          </p:nvCxnSpPr>
          <p:spPr>
            <a:xfrm>
              <a:off x="10013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Rak 16">
              <a:extLst>
                <a:ext uri="{FF2B5EF4-FFF2-40B4-BE49-F238E27FC236}">
                  <a16:creationId xmlns:a16="http://schemas.microsoft.com/office/drawing/2014/main" id="{EE96282C-29E0-324D-A57B-8DA5899B130F}"/>
                </a:ext>
              </a:extLst>
            </p:cNvPr>
            <p:cNvCxnSpPr/>
            <p:nvPr userDrawn="1"/>
          </p:nvCxnSpPr>
          <p:spPr>
            <a:xfrm>
              <a:off x="11608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Rak 18">
              <a:extLst>
                <a:ext uri="{FF2B5EF4-FFF2-40B4-BE49-F238E27FC236}">
                  <a16:creationId xmlns:a16="http://schemas.microsoft.com/office/drawing/2014/main" id="{536C4DC2-C1BD-BF40-822F-968A882DC849}"/>
                </a:ext>
              </a:extLst>
            </p:cNvPr>
            <p:cNvCxnSpPr/>
            <p:nvPr userDrawn="1"/>
          </p:nvCxnSpPr>
          <p:spPr>
            <a:xfrm>
              <a:off x="0" y="34290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Rak 19">
              <a:extLst>
                <a:ext uri="{FF2B5EF4-FFF2-40B4-BE49-F238E27FC236}">
                  <a16:creationId xmlns:a16="http://schemas.microsoft.com/office/drawing/2014/main" id="{1C19E2E0-0F88-D940-B79A-4F48A4E16DBF}"/>
                </a:ext>
              </a:extLst>
            </p:cNvPr>
            <p:cNvCxnSpPr/>
            <p:nvPr userDrawn="1"/>
          </p:nvCxnSpPr>
          <p:spPr>
            <a:xfrm>
              <a:off x="0" y="71628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Rak 20">
              <a:extLst>
                <a:ext uri="{FF2B5EF4-FFF2-40B4-BE49-F238E27FC236}">
                  <a16:creationId xmlns:a16="http://schemas.microsoft.com/office/drawing/2014/main" id="{DF47D7D8-1177-5440-9D30-384D0310254F}"/>
                </a:ext>
              </a:extLst>
            </p:cNvPr>
            <p:cNvCxnSpPr/>
            <p:nvPr userDrawn="1"/>
          </p:nvCxnSpPr>
          <p:spPr>
            <a:xfrm>
              <a:off x="0" y="613156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upp 36">
              <a:extLst>
                <a:ext uri="{FF2B5EF4-FFF2-40B4-BE49-F238E27FC236}">
                  <a16:creationId xmlns:a16="http://schemas.microsoft.com/office/drawing/2014/main" id="{4073CAF2-D231-AA4E-B64C-4F29C3524743}"/>
                </a:ext>
              </a:extLst>
            </p:cNvPr>
            <p:cNvGrpSpPr/>
            <p:nvPr userDrawn="1"/>
          </p:nvGrpSpPr>
          <p:grpSpPr>
            <a:xfrm>
              <a:off x="-1" y="-8036"/>
              <a:ext cx="2513041" cy="1609752"/>
              <a:chOff x="-1" y="-8036"/>
              <a:chExt cx="2513041" cy="1609752"/>
            </a:xfrm>
          </p:grpSpPr>
          <p:sp>
            <p:nvSpPr>
              <p:cNvPr id="23" name="textruta 27">
                <a:extLst>
                  <a:ext uri="{FF2B5EF4-FFF2-40B4-BE49-F238E27FC236}">
                    <a16:creationId xmlns:a16="http://schemas.microsoft.com/office/drawing/2014/main" id="{408EBDF5-7E15-7E46-9D84-3C9DAC73CFEA}"/>
                  </a:ext>
                </a:extLst>
              </p:cNvPr>
              <p:cNvSpPr txBox="1"/>
              <p:nvPr/>
            </p:nvSpPr>
            <p:spPr>
              <a:xfrm>
                <a:off x="2128926" y="257555"/>
                <a:ext cx="3841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8 mm</a:t>
                </a:r>
              </a:p>
            </p:txBody>
          </p:sp>
          <p:sp>
            <p:nvSpPr>
              <p:cNvPr id="24" name="textruta 28">
                <a:extLst>
                  <a:ext uri="{FF2B5EF4-FFF2-40B4-BE49-F238E27FC236}">
                    <a16:creationId xmlns:a16="http://schemas.microsoft.com/office/drawing/2014/main" id="{59DAB34A-4CCD-084F-8415-4B0E6D9C875C}"/>
                  </a:ext>
                </a:extLst>
              </p:cNvPr>
              <p:cNvSpPr txBox="1"/>
              <p:nvPr/>
            </p:nvSpPr>
            <p:spPr>
              <a:xfrm>
                <a:off x="583563" y="259993"/>
                <a:ext cx="4704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20 mm</a:t>
                </a:r>
              </a:p>
            </p:txBody>
          </p:sp>
          <p:sp>
            <p:nvSpPr>
              <p:cNvPr id="25" name="textruta 29">
                <a:extLst>
                  <a:ext uri="{FF2B5EF4-FFF2-40B4-BE49-F238E27FC236}">
                    <a16:creationId xmlns:a16="http://schemas.microsoft.com/office/drawing/2014/main" id="{B0319B5D-5C11-CC4E-A42F-45B4A1495C3A}"/>
                  </a:ext>
                </a:extLst>
              </p:cNvPr>
              <p:cNvSpPr txBox="1"/>
              <p:nvPr/>
            </p:nvSpPr>
            <p:spPr>
              <a:xfrm>
                <a:off x="-1" y="1313356"/>
                <a:ext cx="5746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16 mm</a:t>
                </a:r>
              </a:p>
            </p:txBody>
          </p:sp>
          <p:cxnSp>
            <p:nvCxnSpPr>
              <p:cNvPr id="26" name="Rak 30">
                <a:extLst>
                  <a:ext uri="{FF2B5EF4-FFF2-40B4-BE49-F238E27FC236}">
                    <a16:creationId xmlns:a16="http://schemas.microsoft.com/office/drawing/2014/main" id="{7254C707-F54B-3341-9421-3BCE67F2FDE4}"/>
                  </a:ext>
                </a:extLst>
              </p:cNvPr>
              <p:cNvCxnSpPr/>
              <p:nvPr/>
            </p:nvCxnSpPr>
            <p:spPr>
              <a:xfrm>
                <a:off x="1217245" y="-8036"/>
                <a:ext cx="0" cy="7207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Rak 31">
                <a:extLst>
                  <a:ext uri="{FF2B5EF4-FFF2-40B4-BE49-F238E27FC236}">
                    <a16:creationId xmlns:a16="http://schemas.microsoft.com/office/drawing/2014/main" id="{5CFF8254-561E-4946-85FF-5C226AFFC785}"/>
                  </a:ext>
                </a:extLst>
              </p:cNvPr>
              <p:cNvCxnSpPr>
                <a:cxnSpLocks/>
              </p:cNvCxnSpPr>
              <p:nvPr/>
            </p:nvCxnSpPr>
            <p:spPr>
              <a:xfrm>
                <a:off x="1128180" y="348224"/>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Rak 32">
                <a:extLst>
                  <a:ext uri="{FF2B5EF4-FFF2-40B4-BE49-F238E27FC236}">
                    <a16:creationId xmlns:a16="http://schemas.microsoft.com/office/drawing/2014/main" id="{0699D758-408B-E845-8449-FDF2F4CFE99E}"/>
                  </a:ext>
                </a:extLst>
              </p:cNvPr>
              <p:cNvCxnSpPr>
                <a:cxnSpLocks/>
              </p:cNvCxnSpPr>
              <p:nvPr/>
            </p:nvCxnSpPr>
            <p:spPr>
              <a:xfrm flipH="1">
                <a:off x="1" y="1601715"/>
                <a:ext cx="574675"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Rak 33">
                <a:extLst>
                  <a:ext uri="{FF2B5EF4-FFF2-40B4-BE49-F238E27FC236}">
                    <a16:creationId xmlns:a16="http://schemas.microsoft.com/office/drawing/2014/main" id="{D2C3CFE2-C214-F544-8C2B-B78316799C23}"/>
                  </a:ext>
                </a:extLst>
              </p:cNvPr>
              <p:cNvCxnSpPr>
                <a:cxnSpLocks/>
              </p:cNvCxnSpPr>
              <p:nvPr/>
            </p:nvCxnSpPr>
            <p:spPr>
              <a:xfrm rot="5400000">
                <a:off x="242806" y="1557183"/>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Rak 34">
                <a:extLst>
                  <a:ext uri="{FF2B5EF4-FFF2-40B4-BE49-F238E27FC236}">
                    <a16:creationId xmlns:a16="http://schemas.microsoft.com/office/drawing/2014/main" id="{66360723-ED83-5E43-99F0-C30D4860EB97}"/>
                  </a:ext>
                </a:extLst>
              </p:cNvPr>
              <p:cNvCxnSpPr>
                <a:cxnSpLocks/>
              </p:cNvCxnSpPr>
              <p:nvPr/>
            </p:nvCxnSpPr>
            <p:spPr>
              <a:xfrm flipH="1">
                <a:off x="2173859" y="545915"/>
                <a:ext cx="28994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Rak 35">
                <a:extLst>
                  <a:ext uri="{FF2B5EF4-FFF2-40B4-BE49-F238E27FC236}">
                    <a16:creationId xmlns:a16="http://schemas.microsoft.com/office/drawing/2014/main" id="{BBBC5458-E333-CF4F-B0CB-264B70DE25C4}"/>
                  </a:ext>
                </a:extLst>
              </p:cNvPr>
              <p:cNvCxnSpPr>
                <a:cxnSpLocks/>
              </p:cNvCxnSpPr>
              <p:nvPr/>
            </p:nvCxnSpPr>
            <p:spPr>
              <a:xfrm rot="5400000">
                <a:off x="2274297" y="501382"/>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 name="Text Placeholder 2">
            <a:extLst>
              <a:ext uri="{FF2B5EF4-FFF2-40B4-BE49-F238E27FC236}">
                <a16:creationId xmlns:a16="http://schemas.microsoft.com/office/drawing/2014/main" id="{B36444E1-9481-3246-8530-C77C48B222A1}"/>
              </a:ext>
            </a:extLst>
          </p:cNvPr>
          <p:cNvSpPr>
            <a:spLocks noGrp="1"/>
          </p:cNvSpPr>
          <p:nvPr>
            <p:ph type="body" idx="1"/>
          </p:nvPr>
        </p:nvSpPr>
        <p:spPr>
          <a:xfrm>
            <a:off x="576000" y="1825625"/>
            <a:ext cx="11028679" cy="43037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8" name="Platshållare för datum 3">
            <a:extLst>
              <a:ext uri="{FF2B5EF4-FFF2-40B4-BE49-F238E27FC236}">
                <a16:creationId xmlns:a16="http://schemas.microsoft.com/office/drawing/2014/main" id="{4242F37A-724B-BB45-810B-98F9E5801999}"/>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spc="50" baseline="0">
                <a:solidFill>
                  <a:schemeClr val="bg2"/>
                </a:solidFill>
              </a:defRPr>
            </a:lvl1pPr>
          </a:lstStyle>
          <a:p>
            <a:fld id="{AE699CC6-E9CF-4D9D-B812-893D3B10D8F0}" type="datetime1">
              <a:rPr lang="en-US" smtClean="0"/>
              <a:t>11/1/2023</a:t>
            </a:fld>
            <a:endParaRPr lang="en-US"/>
          </a:p>
        </p:txBody>
      </p:sp>
      <p:sp>
        <p:nvSpPr>
          <p:cNvPr id="39" name="Platshållare för sidfot 4">
            <a:extLst>
              <a:ext uri="{FF2B5EF4-FFF2-40B4-BE49-F238E27FC236}">
                <a16:creationId xmlns:a16="http://schemas.microsoft.com/office/drawing/2014/main" id="{E70541BD-5E93-944A-AF9C-57328432E7E0}"/>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spc="50" baseline="0">
                <a:solidFill>
                  <a:schemeClr val="bg2"/>
                </a:solidFill>
              </a:defRPr>
            </a:lvl1pPr>
          </a:lstStyle>
          <a:p>
            <a:r>
              <a:rPr lang="en-US"/>
              <a:t>Go to header/footer to change text </a:t>
            </a:r>
          </a:p>
        </p:txBody>
      </p:sp>
      <p:sp>
        <p:nvSpPr>
          <p:cNvPr id="40" name="Platshållare för bildnummer 5">
            <a:extLst>
              <a:ext uri="{FF2B5EF4-FFF2-40B4-BE49-F238E27FC236}">
                <a16:creationId xmlns:a16="http://schemas.microsoft.com/office/drawing/2014/main" id="{DA69EF2E-7865-3E4D-A63C-41C17B87DF45}"/>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spc="50" baseline="0">
                <a:solidFill>
                  <a:schemeClr val="bg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1647070999"/>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23" r:id="rId7"/>
    <p:sldLayoutId id="2147483708" r:id="rId8"/>
    <p:sldLayoutId id="2147483709" r:id="rId9"/>
    <p:sldLayoutId id="2147483710" r:id="rId10"/>
    <p:sldLayoutId id="2147483711" r:id="rId11"/>
    <p:sldLayoutId id="2147483712" r:id="rId12"/>
    <p:sldLayoutId id="2147483732" r:id="rId13"/>
    <p:sldLayoutId id="2147483713" r:id="rId14"/>
    <p:sldLayoutId id="2147483731" r:id="rId15"/>
    <p:sldLayoutId id="2147483721" r:id="rId16"/>
    <p:sldLayoutId id="2147483714" r:id="rId17"/>
    <p:sldLayoutId id="2147483715" r:id="rId18"/>
    <p:sldLayoutId id="2147483724" r:id="rId19"/>
  </p:sldLayoutIdLst>
  <p:hf hdr="0" ftr="0" dt="0"/>
  <p:txStyles>
    <p:titleStyle>
      <a:lvl1pPr algn="l" defTabSz="914400"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182563" indent="-176400" algn="l" defTabSz="914400" rtl="0" eaLnBrk="1" latinLnBrk="0" hangingPunct="1">
        <a:lnSpc>
          <a:spcPct val="100000"/>
        </a:lnSpc>
        <a:spcBef>
          <a:spcPts val="1000"/>
        </a:spcBef>
        <a:buFont typeface="Arial" panose="020B0604020202020204" pitchFamily="34" charset="0"/>
        <a:buChar char="•"/>
        <a:tabLst/>
        <a:defRPr sz="1600" kern="1200" spc="40" baseline="0">
          <a:solidFill>
            <a:schemeClr val="bg2"/>
          </a:solidFill>
          <a:latin typeface="+mn-lt"/>
          <a:ea typeface="+mn-ea"/>
          <a:cs typeface="+mn-cs"/>
        </a:defRPr>
      </a:lvl1pPr>
      <a:lvl2pPr marL="361950" indent="-180975" algn="l" defTabSz="914400" rtl="0" eaLnBrk="1" latinLnBrk="0" hangingPunct="1">
        <a:lnSpc>
          <a:spcPct val="100000"/>
        </a:lnSpc>
        <a:spcBef>
          <a:spcPts val="500"/>
        </a:spcBef>
        <a:buFont typeface="Arial" panose="020B0604020202020204" pitchFamily="34" charset="0"/>
        <a:buChar char="•"/>
        <a:tabLst/>
        <a:defRPr sz="1600" kern="1200" spc="40" baseline="0">
          <a:solidFill>
            <a:schemeClr val="bg2"/>
          </a:solidFill>
          <a:latin typeface="+mn-lt"/>
          <a:ea typeface="+mn-ea"/>
          <a:cs typeface="+mn-cs"/>
        </a:defRPr>
      </a:lvl2pPr>
      <a:lvl3pPr marL="534988" indent="-168275"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3pPr>
      <a:lvl4pPr marL="717550" indent="-182563"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4pPr>
      <a:lvl5pPr marL="890588" indent="-173038" algn="l" defTabSz="914400" rtl="0" eaLnBrk="1" latinLnBrk="0" hangingPunct="1">
        <a:lnSpc>
          <a:spcPct val="100000"/>
        </a:lnSpc>
        <a:spcBef>
          <a:spcPts val="500"/>
        </a:spcBef>
        <a:buFont typeface="Arial" panose="020B0604020202020204" pitchFamily="34" charset="0"/>
        <a:buChar char="•"/>
        <a:tabLst/>
        <a:defRPr sz="1200" kern="1200" spc="40" baseline="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BAE40"/>
          </p15:clr>
        </p15:guide>
        <p15:guide id="2" pos="3840">
          <p15:clr>
            <a:srgbClr val="FBAE40"/>
          </p15:clr>
        </p15:guide>
        <p15:guide id="3" pos="363">
          <p15:clr>
            <a:srgbClr val="000000"/>
          </p15:clr>
        </p15:guide>
        <p15:guide id="4" pos="7317">
          <p15:clr>
            <a:srgbClr val="000000"/>
          </p15:clr>
        </p15:guide>
        <p15:guide id="5" orient="horz" pos="454">
          <p15:clr>
            <a:srgbClr val="000000"/>
          </p15:clr>
        </p15:guide>
        <p15:guide id="6" pos="2739">
          <p15:clr>
            <a:srgbClr val="A4A3A4"/>
          </p15:clr>
        </p15:guide>
        <p15:guide id="7" pos="1553">
          <p15:clr>
            <a:srgbClr val="A4A3A4"/>
          </p15:clr>
        </p15:guide>
        <p15:guide id="9" pos="3750">
          <p15:clr>
            <a:srgbClr val="A4A3A4"/>
          </p15:clr>
        </p15:guide>
        <p15:guide id="10" pos="3930">
          <p15:clr>
            <a:srgbClr val="A4A3A4"/>
          </p15:clr>
        </p15:guide>
        <p15:guide id="11" pos="4932">
          <p15:clr>
            <a:srgbClr val="A4A3A4"/>
          </p15:clr>
        </p15:guide>
        <p15:guide id="12" pos="5120">
          <p15:clr>
            <a:srgbClr val="A4A3A4"/>
          </p15:clr>
        </p15:guide>
        <p15:guide id="13" pos="6123">
          <p15:clr>
            <a:srgbClr val="A4A3A4"/>
          </p15:clr>
        </p15:guide>
        <p15:guide id="15" orient="horz" pos="3861">
          <p15:clr>
            <a:srgbClr val="000000"/>
          </p15:clr>
        </p15:guide>
        <p15:guide id="17" pos="1370">
          <p15:clr>
            <a:srgbClr val="A4A3A4"/>
          </p15:clr>
        </p15:guide>
        <p15:guide id="18" orient="horz" pos="4120" userDrawn="1">
          <p15:clr>
            <a:srgbClr val="A4A3A4"/>
          </p15:clr>
        </p15:guide>
        <p15:guide id="19" orient="horz" pos="2092">
          <p15:clr>
            <a:srgbClr val="A4A3A4"/>
          </p15:clr>
        </p15:guide>
        <p15:guide id="20" orient="horz" pos="2228">
          <p15:clr>
            <a:srgbClr val="A4A3A4"/>
          </p15:clr>
        </p15:guide>
        <p15:guide id="21" pos="6306">
          <p15:clr>
            <a:srgbClr val="A4A3A4"/>
          </p15:clr>
        </p15:guide>
        <p15:guide id="22" pos="2556">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44550" y="476250"/>
            <a:ext cx="10502900" cy="1143000"/>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lIns="50800" tIns="50800" rIns="50800" bIns="50800" anchor="ctr">
            <a:normAutofit/>
          </a:bodyPr>
          <a:lstStyle/>
          <a:p>
            <a:r>
              <a:t>Titteltekst</a:t>
            </a:r>
          </a:p>
        </p:txBody>
      </p:sp>
      <p:sp>
        <p:nvSpPr>
          <p:cNvPr id="3" name="Shape 3"/>
          <p:cNvSpPr>
            <a:spLocks noGrp="1"/>
          </p:cNvSpPr>
          <p:nvPr>
            <p:ph type="body" idx="1"/>
          </p:nvPr>
        </p:nvSpPr>
        <p:spPr>
          <a:xfrm>
            <a:off x="844550" y="1619250"/>
            <a:ext cx="10502900" cy="4603750"/>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lIns="50800" tIns="50800" rIns="50800" bIns="50800" anchor="ctr">
            <a:normAutofit/>
          </a:bodyPr>
          <a:lstStyle/>
          <a:p>
            <a:r>
              <a:t>Brødtekst nivå én</a:t>
            </a:r>
          </a:p>
          <a:p>
            <a:pPr lvl="1"/>
            <a:r>
              <a:t>Brødtekst nivå to</a:t>
            </a:r>
          </a:p>
          <a:p>
            <a:pPr lvl="2"/>
            <a:r>
              <a:t>Brødtekst nivå tre</a:t>
            </a:r>
          </a:p>
          <a:p>
            <a:pPr lvl="3"/>
            <a:r>
              <a:t>Brødtekst nivå fire</a:t>
            </a:r>
          </a:p>
          <a:p>
            <a:pPr lvl="4"/>
            <a:r>
              <a:t>Brødtekst nivå fem</a:t>
            </a:r>
          </a:p>
        </p:txBody>
      </p:sp>
      <p:sp>
        <p:nvSpPr>
          <p:cNvPr id="4" name="Shape 4"/>
          <p:cNvSpPr>
            <a:spLocks noGrp="1"/>
          </p:cNvSpPr>
          <p:nvPr>
            <p:ph type="sldNum" sz="quarter" idx="2"/>
          </p:nvPr>
        </p:nvSpPr>
        <p:spPr>
          <a:xfrm>
            <a:off x="5944548" y="6540500"/>
            <a:ext cx="296556" cy="287258"/>
          </a:xfrm>
          <a:prstGeom prst="rect">
            <a:avLst/>
          </a:prstGeom>
          <a:ln w="12700">
            <a:miter lim="400000"/>
          </a:ln>
        </p:spPr>
        <p:txBody>
          <a:bodyPr wrap="none" lIns="50800" tIns="50800" rIns="50800" bIns="50800">
            <a:spAutoFit/>
          </a:bodyPr>
          <a:lstStyle>
            <a:lvl1pPr>
              <a:defRPr sz="1200"/>
            </a:lvl1pPr>
          </a:lstStyle>
          <a:p>
            <a:fld id="{86CB4B4D-7CA3-9044-876B-883B54F8677D}" type="slidenum">
              <a:rPr/>
              <a:pPr/>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spd="med"/>
  <p:txStyles>
    <p:titleStyle>
      <a:lvl1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1pPr>
      <a:lvl2pPr marL="0" marR="0" indent="1143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2pPr>
      <a:lvl3pPr marL="0" marR="0" indent="2286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3pPr>
      <a:lvl4pPr marL="0" marR="0" indent="3429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4pPr>
      <a:lvl5pPr marL="0" marR="0" indent="4572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5pPr>
      <a:lvl6pPr marL="0" marR="0" indent="5715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6pPr>
      <a:lvl7pPr marL="0" marR="0" indent="6858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7pPr>
      <a:lvl8pPr marL="0" marR="0" indent="8001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8pPr>
      <a:lvl9pPr marL="0" marR="0" indent="9144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9pPr>
    </p:titleStyle>
    <p:bodyStyle>
      <a:lvl1pPr marL="31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1pPr>
      <a:lvl2pPr marL="63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2pPr>
      <a:lvl3pPr marL="95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3pPr>
      <a:lvl4pPr marL="127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4pPr>
      <a:lvl5pPr marL="158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5pPr>
      <a:lvl6pPr marL="190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6pPr>
      <a:lvl7pPr marL="222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7pPr>
      <a:lvl8pPr marL="254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8pPr>
      <a:lvl9pPr marL="285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1143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2286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3429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4572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5715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6858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8001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9144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4.xml"/><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63A49122-214B-1EE1-B903-58AEDC67E8FC}"/>
              </a:ext>
            </a:extLst>
          </p:cNvPr>
          <p:cNvSpPr>
            <a:spLocks noGrp="1"/>
          </p:cNvSpPr>
          <p:nvPr>
            <p:ph type="body" sz="quarter" idx="14"/>
          </p:nvPr>
        </p:nvSpPr>
        <p:spPr>
          <a:xfrm>
            <a:off x="579280" y="2668376"/>
            <a:ext cx="5367178" cy="1365942"/>
          </a:xfrm>
        </p:spPr>
        <p:txBody>
          <a:bodyPr/>
          <a:lstStyle/>
          <a:p>
            <a:r>
              <a:rPr lang="nb-NO" dirty="0">
                <a:latin typeface="Shape Sans" panose="00000500000000000000" pitchFamily="50" charset="0"/>
              </a:rPr>
              <a:t>Energieffektivitet</a:t>
            </a:r>
          </a:p>
        </p:txBody>
      </p:sp>
      <p:sp>
        <p:nvSpPr>
          <p:cNvPr id="7" name="Plassholder for lysbildenummer 6">
            <a:extLst>
              <a:ext uri="{FF2B5EF4-FFF2-40B4-BE49-F238E27FC236}">
                <a16:creationId xmlns:a16="http://schemas.microsoft.com/office/drawing/2014/main" id="{C76A19BB-2014-3C5F-A64C-C77A04B2EC03}"/>
              </a:ext>
            </a:extLst>
          </p:cNvPr>
          <p:cNvSpPr>
            <a:spLocks noGrp="1"/>
          </p:cNvSpPr>
          <p:nvPr>
            <p:ph type="sldNum" sz="quarter" idx="4"/>
          </p:nvPr>
        </p:nvSpPr>
        <p:spPr/>
        <p:txBody>
          <a:bodyPr/>
          <a:lstStyle/>
          <a:p>
            <a:fld id="{EF8DBD5B-30F9-4F9C-AE39-E065C1AC514D}" type="slidenum">
              <a:rPr lang="en-US" noProof="0" smtClean="0"/>
              <a:pPr/>
              <a:t>1</a:t>
            </a:fld>
            <a:endParaRPr lang="en-US" noProof="0"/>
          </a:p>
        </p:txBody>
      </p:sp>
      <p:sp>
        <p:nvSpPr>
          <p:cNvPr id="8" name="Plassholder for tekst 7">
            <a:extLst>
              <a:ext uri="{FF2B5EF4-FFF2-40B4-BE49-F238E27FC236}">
                <a16:creationId xmlns:a16="http://schemas.microsoft.com/office/drawing/2014/main" id="{A9B900B3-32E5-27F6-BFA1-2B3446DF0420}"/>
              </a:ext>
            </a:extLst>
          </p:cNvPr>
          <p:cNvSpPr>
            <a:spLocks noGrp="1"/>
          </p:cNvSpPr>
          <p:nvPr>
            <p:ph type="body" sz="quarter" idx="21"/>
          </p:nvPr>
        </p:nvSpPr>
        <p:spPr/>
        <p:txBody>
          <a:bodyPr/>
          <a:lstStyle/>
          <a:p>
            <a:endParaRPr lang="nb-NO"/>
          </a:p>
        </p:txBody>
      </p:sp>
      <p:pic>
        <p:nvPicPr>
          <p:cNvPr id="11" name="Bilde 10">
            <a:extLst>
              <a:ext uri="{FF2B5EF4-FFF2-40B4-BE49-F238E27FC236}">
                <a16:creationId xmlns:a16="http://schemas.microsoft.com/office/drawing/2014/main" id="{B41E6F2A-C737-DF52-1913-ABE7CCEDD1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9280" y="141328"/>
            <a:ext cx="4544901" cy="1952585"/>
          </a:xfrm>
          <a:prstGeom prst="rect">
            <a:avLst/>
          </a:prstGeom>
        </p:spPr>
      </p:pic>
      <p:pic>
        <p:nvPicPr>
          <p:cNvPr id="2" name="Bilde 15">
            <a:extLst>
              <a:ext uri="{FF2B5EF4-FFF2-40B4-BE49-F238E27FC236}">
                <a16:creationId xmlns:a16="http://schemas.microsoft.com/office/drawing/2014/main" id="{9817B80A-A9A4-5B62-DA29-67D70A75BE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7585" y="3428998"/>
            <a:ext cx="2768290" cy="2768290"/>
          </a:xfrm>
          <a:prstGeom prst="rect">
            <a:avLst/>
          </a:prstGeom>
        </p:spPr>
      </p:pic>
      <p:pic>
        <p:nvPicPr>
          <p:cNvPr id="16" name="Plassholder for bilde 15">
            <a:extLst>
              <a:ext uri="{FF2B5EF4-FFF2-40B4-BE49-F238E27FC236}">
                <a16:creationId xmlns:a16="http://schemas.microsoft.com/office/drawing/2014/main" id="{2747762C-952C-A15E-217F-DFBE8A485AAC}"/>
              </a:ext>
            </a:extLst>
          </p:cNvPr>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t="5000" b="5000"/>
          <a:stretch>
            <a:fillRect/>
          </a:stretch>
        </p:blipFill>
        <p:spPr/>
      </p:pic>
    </p:spTree>
    <p:extLst>
      <p:ext uri="{BB962C8B-B14F-4D97-AF65-F5344CB8AC3E}">
        <p14:creationId xmlns:p14="http://schemas.microsoft.com/office/powerpoint/2010/main" val="12411500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DA1A7EBF-B848-3F6F-670A-2AD2C6CD8429}"/>
              </a:ext>
            </a:extLst>
          </p:cNvPr>
          <p:cNvSpPr>
            <a:spLocks noGrp="1"/>
          </p:cNvSpPr>
          <p:nvPr>
            <p:ph type="sldNum" sz="quarter" idx="4"/>
          </p:nvPr>
        </p:nvSpPr>
        <p:spPr/>
        <p:txBody>
          <a:bodyPr/>
          <a:lstStyle/>
          <a:p>
            <a:fld id="{EF8DBD5B-30F9-4F9C-AE39-E065C1AC514D}" type="slidenum">
              <a:rPr lang="en-US" noProof="0" smtClean="0"/>
              <a:pPr/>
              <a:t>2</a:t>
            </a:fld>
            <a:endParaRPr lang="en-US" noProof="0"/>
          </a:p>
        </p:txBody>
      </p:sp>
      <p:sp>
        <p:nvSpPr>
          <p:cNvPr id="6" name="Plassholder for tekst 5">
            <a:extLst>
              <a:ext uri="{FF2B5EF4-FFF2-40B4-BE49-F238E27FC236}">
                <a16:creationId xmlns:a16="http://schemas.microsoft.com/office/drawing/2014/main" id="{0D8F9E65-B164-44DD-BCEB-D790A005F186}"/>
              </a:ext>
            </a:extLst>
          </p:cNvPr>
          <p:cNvSpPr>
            <a:spLocks noGrp="1"/>
          </p:cNvSpPr>
          <p:nvPr>
            <p:ph type="body" sz="quarter" idx="21"/>
          </p:nvPr>
        </p:nvSpPr>
        <p:spPr/>
        <p:txBody>
          <a:bodyPr/>
          <a:lstStyle/>
          <a:p>
            <a:endParaRPr lang="nb-NO"/>
          </a:p>
        </p:txBody>
      </p:sp>
      <p:pic>
        <p:nvPicPr>
          <p:cNvPr id="11" name="Plassholder for bilde 12">
            <a:extLst>
              <a:ext uri="{FF2B5EF4-FFF2-40B4-BE49-F238E27FC236}">
                <a16:creationId xmlns:a16="http://schemas.microsoft.com/office/drawing/2014/main" id="{D8E5199C-EC86-EB4D-1FCE-E1B15406D381}"/>
              </a:ext>
            </a:extLst>
          </p:cNvPr>
          <p:cNvPicPr>
            <a:picLocks noChangeAspect="1"/>
          </p:cNvPicPr>
          <p:nvPr/>
        </p:nvPicPr>
        <p:blipFill rotWithShape="1">
          <a:blip r:embed="rId3">
            <a:extLst>
              <a:ext uri="{28A0092B-C50C-407E-A947-70E740481C1C}">
                <a14:useLocalDpi xmlns:a14="http://schemas.microsoft.com/office/drawing/2010/main" val="0"/>
              </a:ext>
            </a:extLst>
          </a:blip>
          <a:srcRect l="35266" r="7514"/>
          <a:stretch/>
        </p:blipFill>
        <p:spPr>
          <a:xfrm>
            <a:off x="6303145" y="0"/>
            <a:ext cx="5887265"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pic>
      <p:sp>
        <p:nvSpPr>
          <p:cNvPr id="15" name="Plassholder for tekst 2">
            <a:extLst>
              <a:ext uri="{FF2B5EF4-FFF2-40B4-BE49-F238E27FC236}">
                <a16:creationId xmlns:a16="http://schemas.microsoft.com/office/drawing/2014/main" id="{2AE202C7-4950-55B1-89E7-2362256CF75F}"/>
              </a:ext>
            </a:extLst>
          </p:cNvPr>
          <p:cNvSpPr txBox="1">
            <a:spLocks/>
          </p:cNvSpPr>
          <p:nvPr/>
        </p:nvSpPr>
        <p:spPr>
          <a:xfrm>
            <a:off x="293502" y="727972"/>
            <a:ext cx="5592393" cy="1365942"/>
          </a:xfrm>
          <a:prstGeom prst="rect">
            <a:avLst/>
          </a:prstGeom>
        </p:spPr>
        <p:txBody>
          <a:bodyPr vert="horz" lIns="0" tIns="0" rIns="0" bIns="0" rtlCol="0" anchor="t">
            <a:noAutofit/>
          </a:bodyPr>
          <a:lstStyle>
            <a:lvl1pPr marL="0" indent="0" algn="l" defTabSz="914400" rtl="0" eaLnBrk="1" latinLnBrk="0" hangingPunct="1">
              <a:lnSpc>
                <a:spcPct val="85000"/>
              </a:lnSpc>
              <a:spcBef>
                <a:spcPts val="0"/>
              </a:spcBef>
              <a:buFont typeface="Arial" panose="020B0604020202020204" pitchFamily="34" charset="0"/>
              <a:buNone/>
              <a:tabLst/>
              <a:defRPr sz="3600" kern="1200" spc="40" baseline="0">
                <a:solidFill>
                  <a:schemeClr val="tx2"/>
                </a:solidFill>
                <a:latin typeface="+mj-lt"/>
                <a:ea typeface="+mn-ea"/>
                <a:cs typeface="+mn-cs"/>
              </a:defRPr>
            </a:lvl1pPr>
            <a:lvl2pPr marL="361950" indent="-180975" algn="l" defTabSz="914400" rtl="0" eaLnBrk="1" latinLnBrk="0" hangingPunct="1">
              <a:lnSpc>
                <a:spcPct val="100000"/>
              </a:lnSpc>
              <a:spcBef>
                <a:spcPts val="500"/>
              </a:spcBef>
              <a:buFont typeface="Arial" panose="020B0604020202020204" pitchFamily="34" charset="0"/>
              <a:buChar char="•"/>
              <a:tabLst/>
              <a:defRPr sz="1600" kern="1200" spc="40" baseline="0">
                <a:solidFill>
                  <a:schemeClr val="bg2"/>
                </a:solidFill>
                <a:latin typeface="+mn-lt"/>
                <a:ea typeface="+mn-ea"/>
                <a:cs typeface="+mn-cs"/>
              </a:defRPr>
            </a:lvl2pPr>
            <a:lvl3pPr marL="534988" indent="-168275"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3pPr>
            <a:lvl4pPr marL="717550" indent="-182563"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4pPr>
            <a:lvl5pPr marL="890588" indent="-173038" algn="l" defTabSz="914400" rtl="0" eaLnBrk="1" latinLnBrk="0" hangingPunct="1">
              <a:lnSpc>
                <a:spcPct val="100000"/>
              </a:lnSpc>
              <a:spcBef>
                <a:spcPts val="500"/>
              </a:spcBef>
              <a:buFont typeface="Arial" panose="020B0604020202020204" pitchFamily="34" charset="0"/>
              <a:buChar char="•"/>
              <a:tabLst/>
              <a:defRPr sz="1200" kern="1200" spc="40" baseline="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nb-NO" sz="3600" b="0" i="0" u="none" strike="noStrike" kern="1200" cap="none" spc="40" normalizeH="0" baseline="0" noProof="0" dirty="0">
                <a:ln>
                  <a:noFill/>
                </a:ln>
                <a:solidFill>
                  <a:srgbClr val="143275"/>
                </a:solidFill>
                <a:effectLst/>
                <a:uLnTx/>
                <a:uFillTx/>
                <a:latin typeface="Shape Sans Display"/>
                <a:ea typeface="+mn-ea"/>
                <a:cs typeface="+mn-cs"/>
              </a:rPr>
              <a:t>Vi kan forvandle byggene </a:t>
            </a:r>
            <a:br>
              <a:rPr kumimoji="0" lang="nb-NO" sz="3600" b="0" i="0" u="none" strike="noStrike" kern="1200" cap="none" spc="40" normalizeH="0" baseline="0" noProof="0" dirty="0">
                <a:ln>
                  <a:noFill/>
                </a:ln>
                <a:solidFill>
                  <a:srgbClr val="143275"/>
                </a:solidFill>
                <a:effectLst/>
                <a:uLnTx/>
                <a:uFillTx/>
                <a:latin typeface="Shape Sans Display"/>
                <a:ea typeface="+mn-ea"/>
                <a:cs typeface="+mn-cs"/>
              </a:rPr>
            </a:br>
            <a:r>
              <a:rPr kumimoji="0" lang="nb-NO" sz="3600" b="0" i="0" u="none" strike="noStrike" kern="1200" cap="none" spc="40" normalizeH="0" baseline="0" noProof="0" dirty="0">
                <a:ln>
                  <a:noFill/>
                </a:ln>
                <a:solidFill>
                  <a:srgbClr val="143275"/>
                </a:solidFill>
                <a:effectLst/>
                <a:uLnTx/>
                <a:uFillTx/>
                <a:latin typeface="Shape Sans Display"/>
                <a:ea typeface="+mn-ea"/>
                <a:cs typeface="+mn-cs"/>
              </a:rPr>
              <a:t>våre fra kraftsluk til kraftverk</a:t>
            </a:r>
          </a:p>
        </p:txBody>
      </p:sp>
      <p:pic>
        <p:nvPicPr>
          <p:cNvPr id="2" name="Picture 1">
            <a:extLst>
              <a:ext uri="{FF2B5EF4-FFF2-40B4-BE49-F238E27FC236}">
                <a16:creationId xmlns:a16="http://schemas.microsoft.com/office/drawing/2014/main" id="{0A9F9463-48FF-5863-7535-5A76EB2CA60D}"/>
              </a:ext>
            </a:extLst>
          </p:cNvPr>
          <p:cNvPicPr>
            <a:picLocks noChangeAspect="1"/>
          </p:cNvPicPr>
          <p:nvPr/>
        </p:nvPicPr>
        <p:blipFill>
          <a:blip r:embed="rId4"/>
          <a:stretch>
            <a:fillRect/>
          </a:stretch>
        </p:blipFill>
        <p:spPr>
          <a:xfrm>
            <a:off x="411177" y="2093913"/>
            <a:ext cx="5684796" cy="3755094"/>
          </a:xfrm>
          <a:prstGeom prst="rect">
            <a:avLst/>
          </a:prstGeom>
        </p:spPr>
      </p:pic>
    </p:spTree>
    <p:extLst>
      <p:ext uri="{BB962C8B-B14F-4D97-AF65-F5344CB8AC3E}">
        <p14:creationId xmlns:p14="http://schemas.microsoft.com/office/powerpoint/2010/main" val="3074373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44BE91C5-CF31-D799-B95C-9A7CC1DB718D}"/>
              </a:ext>
            </a:extLst>
          </p:cNvPr>
          <p:cNvSpPr>
            <a:spLocks noGrp="1"/>
          </p:cNvSpPr>
          <p:nvPr>
            <p:ph type="sldNum" sz="quarter" idx="4"/>
          </p:nvPr>
        </p:nvSpPr>
        <p:spPr/>
        <p:txBody>
          <a:bodyPr/>
          <a:lstStyle/>
          <a:p>
            <a:fld id="{EF8DBD5B-30F9-4F9C-AE39-E065C1AC514D}" type="slidenum">
              <a:rPr lang="en-US" noProof="0" smtClean="0"/>
              <a:pPr/>
              <a:t>3</a:t>
            </a:fld>
            <a:endParaRPr lang="en-US" noProof="0"/>
          </a:p>
        </p:txBody>
      </p:sp>
      <p:sp>
        <p:nvSpPr>
          <p:cNvPr id="8" name="Plassholder for tekst 7">
            <a:extLst>
              <a:ext uri="{FF2B5EF4-FFF2-40B4-BE49-F238E27FC236}">
                <a16:creationId xmlns:a16="http://schemas.microsoft.com/office/drawing/2014/main" id="{3B9658EB-8C40-C20B-CB3F-C4C2B8734193}"/>
              </a:ext>
            </a:extLst>
          </p:cNvPr>
          <p:cNvSpPr>
            <a:spLocks noGrp="1"/>
          </p:cNvSpPr>
          <p:nvPr>
            <p:ph type="body" sz="quarter" idx="21"/>
          </p:nvPr>
        </p:nvSpPr>
        <p:spPr/>
        <p:txBody>
          <a:bodyPr/>
          <a:lstStyle/>
          <a:p>
            <a:endParaRPr lang="nb-NO"/>
          </a:p>
        </p:txBody>
      </p:sp>
      <p:pic>
        <p:nvPicPr>
          <p:cNvPr id="14" name="Picture 15">
            <a:extLst>
              <a:ext uri="{FF2B5EF4-FFF2-40B4-BE49-F238E27FC236}">
                <a16:creationId xmlns:a16="http://schemas.microsoft.com/office/drawing/2014/main" id="{769C39D1-6E0E-FC0A-B21C-08F7BD0EAD9C}"/>
              </a:ext>
            </a:extLst>
          </p:cNvPr>
          <p:cNvPicPr>
            <a:picLocks noChangeAspect="1"/>
          </p:cNvPicPr>
          <p:nvPr/>
        </p:nvPicPr>
        <p:blipFill>
          <a:blip r:embed="rId3"/>
          <a:stretch>
            <a:fillRect/>
          </a:stretch>
        </p:blipFill>
        <p:spPr>
          <a:xfrm>
            <a:off x="285100" y="1072618"/>
            <a:ext cx="7210812" cy="4712763"/>
          </a:xfrm>
          <a:prstGeom prst="rect">
            <a:avLst/>
          </a:prstGeom>
          <a:ln w="38100">
            <a:solidFill>
              <a:schemeClr val="accent3"/>
            </a:solidFill>
          </a:ln>
        </p:spPr>
      </p:pic>
      <p:pic>
        <p:nvPicPr>
          <p:cNvPr id="22" name="Plassholder for bilde 21">
            <a:extLst>
              <a:ext uri="{FF2B5EF4-FFF2-40B4-BE49-F238E27FC236}">
                <a16:creationId xmlns:a16="http://schemas.microsoft.com/office/drawing/2014/main" id="{6A95AD11-D804-95F9-5986-6EF6D3D4A92E}"/>
              </a:ext>
            </a:extLst>
          </p:cNvPr>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l="28802" r="28802"/>
          <a:stretch>
            <a:fillRect/>
          </a:stretch>
        </p:blipFill>
        <p:spPr>
          <a:xfrm>
            <a:off x="7829550" y="0"/>
            <a:ext cx="4360863" cy="6858000"/>
          </a:xfrm>
        </p:spPr>
      </p:pic>
    </p:spTree>
    <p:extLst>
      <p:ext uri="{BB962C8B-B14F-4D97-AF65-F5344CB8AC3E}">
        <p14:creationId xmlns:p14="http://schemas.microsoft.com/office/powerpoint/2010/main" val="41441491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65B4C6CC-D4CA-0164-45D2-7705DB6A0ED1}"/>
              </a:ext>
            </a:extLst>
          </p:cNvPr>
          <p:cNvSpPr>
            <a:spLocks noGrp="1"/>
          </p:cNvSpPr>
          <p:nvPr>
            <p:ph type="body" sz="quarter" idx="14"/>
          </p:nvPr>
        </p:nvSpPr>
        <p:spPr>
          <a:xfrm>
            <a:off x="572822" y="369749"/>
            <a:ext cx="5367178" cy="601499"/>
          </a:xfrm>
        </p:spPr>
        <p:txBody>
          <a:bodyPr/>
          <a:lstStyle/>
          <a:p>
            <a:r>
              <a:rPr lang="nb-NO" dirty="0"/>
              <a:t>Skanska ligger i front</a:t>
            </a:r>
          </a:p>
        </p:txBody>
      </p:sp>
      <p:sp>
        <p:nvSpPr>
          <p:cNvPr id="4" name="Plassholder for tekst 3">
            <a:extLst>
              <a:ext uri="{FF2B5EF4-FFF2-40B4-BE49-F238E27FC236}">
                <a16:creationId xmlns:a16="http://schemas.microsoft.com/office/drawing/2014/main" id="{F326EB89-DF28-F743-5EAA-E1F3D1765953}"/>
              </a:ext>
            </a:extLst>
          </p:cNvPr>
          <p:cNvSpPr>
            <a:spLocks noGrp="1"/>
          </p:cNvSpPr>
          <p:nvPr>
            <p:ph type="body" sz="quarter" idx="20"/>
          </p:nvPr>
        </p:nvSpPr>
        <p:spPr>
          <a:xfrm>
            <a:off x="545075" y="1083841"/>
            <a:ext cx="5377125" cy="5078639"/>
          </a:xfrm>
        </p:spPr>
        <p:txBody>
          <a:bodyPr vert="horz" lIns="0" tIns="0" rIns="0" bIns="0" rtlCol="0" anchor="t">
            <a:noAutofit/>
          </a:bodyPr>
          <a:lstStyle/>
          <a:p>
            <a:pPr marL="182245" indent="-175895"/>
            <a:r>
              <a:rPr lang="nb-NO" b="1" dirty="0"/>
              <a:t>Effektivt utstyr</a:t>
            </a:r>
            <a:br>
              <a:rPr lang="nb-NO" dirty="0"/>
            </a:br>
            <a:r>
              <a:rPr lang="nb-NO" i="1" dirty="0"/>
              <a:t>Moderne utstyr har lavere energibruk</a:t>
            </a:r>
            <a:br>
              <a:rPr lang="nb-NO" i="1" dirty="0"/>
            </a:br>
            <a:r>
              <a:rPr lang="nb-NO" i="1" dirty="0"/>
              <a:t>(Eks. LED, Laptoper, vaskemaskiner)</a:t>
            </a:r>
            <a:endParaRPr lang="nb-NO" dirty="0"/>
          </a:p>
          <a:p>
            <a:pPr marL="182245" indent="-175895"/>
            <a:r>
              <a:rPr lang="nb-NO" b="1" dirty="0"/>
              <a:t>Intelligent styring</a:t>
            </a:r>
            <a:br>
              <a:rPr lang="nb-NO" b="1" dirty="0"/>
            </a:br>
            <a:r>
              <a:rPr lang="nb-NO" i="1" dirty="0"/>
              <a:t>Mye energi går til spille ved at ting står på mens vi ikke trenger</a:t>
            </a:r>
            <a:br>
              <a:rPr lang="nb-NO" i="1" dirty="0"/>
            </a:br>
            <a:r>
              <a:rPr lang="nb-NO" i="1" dirty="0"/>
              <a:t>(Eks. parasittiske laster fra omformere osv.)</a:t>
            </a:r>
            <a:endParaRPr lang="nb-NO" b="1" dirty="0"/>
          </a:p>
          <a:p>
            <a:pPr marL="182245" indent="-175895"/>
            <a:r>
              <a:rPr lang="nb-NO" b="1" dirty="0"/>
              <a:t>God klimaskjerm</a:t>
            </a:r>
            <a:br>
              <a:rPr lang="nb-NO" b="1" dirty="0"/>
            </a:br>
            <a:r>
              <a:rPr lang="nb-NO" i="1" dirty="0"/>
              <a:t>Vi bruker mye energi på å skape et komfortabelt klima inne. Alt som går gjennom klimaskjermen går til kråka!</a:t>
            </a:r>
            <a:br>
              <a:rPr lang="nb-NO" i="1" dirty="0"/>
            </a:br>
            <a:r>
              <a:rPr lang="nb-NO" i="1" dirty="0"/>
              <a:t>(Eks. Går du i t-skjorte ute på vinteren?)</a:t>
            </a:r>
            <a:endParaRPr lang="nb-NO" dirty="0"/>
          </a:p>
          <a:p>
            <a:pPr marL="182245" indent="-175895"/>
            <a:r>
              <a:rPr lang="nb-NO" b="1" dirty="0"/>
              <a:t>Effektiv varme og kjøling</a:t>
            </a:r>
            <a:br>
              <a:rPr lang="nb-NO" b="1" dirty="0"/>
            </a:br>
            <a:r>
              <a:rPr lang="nb-NO" i="1" dirty="0"/>
              <a:t>Varmepumper gir oss varme og kjøling med liten bruk av energi. </a:t>
            </a:r>
            <a:endParaRPr lang="nb-NO" dirty="0"/>
          </a:p>
          <a:p>
            <a:pPr marL="182245" indent="-175895"/>
            <a:r>
              <a:rPr lang="nb-NO" b="1" dirty="0"/>
              <a:t>Lokal el-produksjon</a:t>
            </a:r>
            <a:br>
              <a:rPr lang="nb-NO" b="1" dirty="0"/>
            </a:br>
            <a:r>
              <a:rPr lang="nb-NO" i="1" dirty="0"/>
              <a:t>Produser så mye som mulig lokalt (Solceller..)</a:t>
            </a:r>
          </a:p>
        </p:txBody>
      </p:sp>
      <p:sp>
        <p:nvSpPr>
          <p:cNvPr id="7" name="Plassholder for lysbildenummer 6">
            <a:extLst>
              <a:ext uri="{FF2B5EF4-FFF2-40B4-BE49-F238E27FC236}">
                <a16:creationId xmlns:a16="http://schemas.microsoft.com/office/drawing/2014/main" id="{0B0317EC-61CB-E0D2-90D3-8C75F6DB741B}"/>
              </a:ext>
            </a:extLst>
          </p:cNvPr>
          <p:cNvSpPr>
            <a:spLocks noGrp="1"/>
          </p:cNvSpPr>
          <p:nvPr>
            <p:ph type="sldNum" sz="quarter" idx="4"/>
          </p:nvPr>
        </p:nvSpPr>
        <p:spPr/>
        <p:txBody>
          <a:bodyPr/>
          <a:lstStyle/>
          <a:p>
            <a:fld id="{EF8DBD5B-30F9-4F9C-AE39-E065C1AC514D}" type="slidenum">
              <a:rPr lang="en-US" noProof="0" smtClean="0"/>
              <a:pPr/>
              <a:t>4</a:t>
            </a:fld>
            <a:endParaRPr lang="en-US" noProof="0"/>
          </a:p>
        </p:txBody>
      </p:sp>
      <p:sp>
        <p:nvSpPr>
          <p:cNvPr id="8" name="Plassholder for tekst 7">
            <a:extLst>
              <a:ext uri="{FF2B5EF4-FFF2-40B4-BE49-F238E27FC236}">
                <a16:creationId xmlns:a16="http://schemas.microsoft.com/office/drawing/2014/main" id="{FB91A24E-6A50-F33A-2621-79118A26A3EA}"/>
              </a:ext>
            </a:extLst>
          </p:cNvPr>
          <p:cNvSpPr>
            <a:spLocks noGrp="1"/>
          </p:cNvSpPr>
          <p:nvPr>
            <p:ph type="body" sz="quarter" idx="21"/>
          </p:nvPr>
        </p:nvSpPr>
        <p:spPr/>
        <p:txBody>
          <a:bodyPr/>
          <a:lstStyle/>
          <a:p>
            <a:endParaRPr lang="nb-NO"/>
          </a:p>
        </p:txBody>
      </p:sp>
      <p:sp>
        <p:nvSpPr>
          <p:cNvPr id="9" name="TextBox 8">
            <a:extLst>
              <a:ext uri="{FF2B5EF4-FFF2-40B4-BE49-F238E27FC236}">
                <a16:creationId xmlns:a16="http://schemas.microsoft.com/office/drawing/2014/main" id="{142B6871-BFD5-649F-D4CC-57D4638B4C2A}"/>
              </a:ext>
            </a:extLst>
          </p:cNvPr>
          <p:cNvSpPr txBox="1"/>
          <p:nvPr/>
        </p:nvSpPr>
        <p:spPr>
          <a:xfrm>
            <a:off x="6858665" y="5050274"/>
            <a:ext cx="4356434" cy="1107996"/>
          </a:xfrm>
          <a:prstGeom prst="rect">
            <a:avLst/>
          </a:prstGeom>
          <a:noFill/>
        </p:spPr>
        <p:txBody>
          <a:bodyPr wrap="square" lIns="0" tIns="0" rIns="0" bIns="0" rtlCol="0">
            <a:spAutoFit/>
          </a:bodyPr>
          <a:lstStyle/>
          <a:p>
            <a:pPr algn="l"/>
            <a:r>
              <a:rPr lang="nb-NO" i="1" dirty="0">
                <a:solidFill>
                  <a:schemeClr val="bg1"/>
                </a:solidFill>
              </a:rPr>
              <a:t>Skanska har en gjennomgående ambisjon om å oppnå energireduksjon samtidig som vi forenkler anleggene. Dette er billigere, ressurssparende og mer robust.</a:t>
            </a:r>
          </a:p>
        </p:txBody>
      </p:sp>
      <p:pic>
        <p:nvPicPr>
          <p:cNvPr id="22" name="Plassholder for bilde 21">
            <a:extLst>
              <a:ext uri="{FF2B5EF4-FFF2-40B4-BE49-F238E27FC236}">
                <a16:creationId xmlns:a16="http://schemas.microsoft.com/office/drawing/2014/main" id="{046A3505-B794-EDCA-0C23-F687C900C898}"/>
              </a:ext>
            </a:extLst>
          </p:cNvPr>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t="16675" b="16675"/>
          <a:stretch>
            <a:fillRect/>
          </a:stretch>
        </p:blipFill>
        <p:spPr/>
      </p:pic>
    </p:spTree>
    <p:extLst>
      <p:ext uri="{BB962C8B-B14F-4D97-AF65-F5344CB8AC3E}">
        <p14:creationId xmlns:p14="http://schemas.microsoft.com/office/powerpoint/2010/main" val="5013962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lassholder for bilde 9">
            <a:extLst>
              <a:ext uri="{FF2B5EF4-FFF2-40B4-BE49-F238E27FC236}">
                <a16:creationId xmlns:a16="http://schemas.microsoft.com/office/drawing/2014/main" id="{5776DA75-AE2F-46E9-3774-1D4AE09E787C}"/>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l="25058" r="25058"/>
          <a:stretch>
            <a:fillRect/>
          </a:stretch>
        </p:blipFill>
        <p:spPr/>
      </p:pic>
      <p:sp>
        <p:nvSpPr>
          <p:cNvPr id="3" name="Plassholder for tekst 2">
            <a:extLst>
              <a:ext uri="{FF2B5EF4-FFF2-40B4-BE49-F238E27FC236}">
                <a16:creationId xmlns:a16="http://schemas.microsoft.com/office/drawing/2014/main" id="{B1DA0261-5E04-F776-EA8F-97CEC9D776CA}"/>
              </a:ext>
            </a:extLst>
          </p:cNvPr>
          <p:cNvSpPr>
            <a:spLocks noGrp="1"/>
          </p:cNvSpPr>
          <p:nvPr>
            <p:ph type="body" sz="quarter" idx="14"/>
          </p:nvPr>
        </p:nvSpPr>
        <p:spPr>
          <a:xfrm>
            <a:off x="576000" y="579887"/>
            <a:ext cx="5367178" cy="1365942"/>
          </a:xfrm>
        </p:spPr>
        <p:txBody>
          <a:bodyPr/>
          <a:lstStyle/>
          <a:p>
            <a:r>
              <a:rPr lang="nb-NO" dirty="0"/>
              <a:t>Kan noen av de samme prinsippene brukes for redusere energibruk på din anleggsplass?</a:t>
            </a:r>
          </a:p>
          <a:p>
            <a:endParaRPr lang="nb-NO" dirty="0"/>
          </a:p>
        </p:txBody>
      </p:sp>
      <p:sp>
        <p:nvSpPr>
          <p:cNvPr id="7" name="Plassholder for lysbildenummer 6">
            <a:extLst>
              <a:ext uri="{FF2B5EF4-FFF2-40B4-BE49-F238E27FC236}">
                <a16:creationId xmlns:a16="http://schemas.microsoft.com/office/drawing/2014/main" id="{7B470BBF-BBD4-A3D7-B3C2-23B8D373C157}"/>
              </a:ext>
            </a:extLst>
          </p:cNvPr>
          <p:cNvSpPr>
            <a:spLocks noGrp="1"/>
          </p:cNvSpPr>
          <p:nvPr>
            <p:ph type="sldNum" sz="quarter" idx="4"/>
          </p:nvPr>
        </p:nvSpPr>
        <p:spPr/>
        <p:txBody>
          <a:bodyPr/>
          <a:lstStyle/>
          <a:p>
            <a:fld id="{EF8DBD5B-30F9-4F9C-AE39-E065C1AC514D}" type="slidenum">
              <a:rPr lang="en-US" noProof="0" smtClean="0"/>
              <a:pPr/>
              <a:t>5</a:t>
            </a:fld>
            <a:endParaRPr lang="en-US" noProof="0"/>
          </a:p>
        </p:txBody>
      </p:sp>
      <p:sp>
        <p:nvSpPr>
          <p:cNvPr id="8" name="Plassholder for tekst 7">
            <a:extLst>
              <a:ext uri="{FF2B5EF4-FFF2-40B4-BE49-F238E27FC236}">
                <a16:creationId xmlns:a16="http://schemas.microsoft.com/office/drawing/2014/main" id="{9A755159-F74E-3637-9449-51AC949AE223}"/>
              </a:ext>
            </a:extLst>
          </p:cNvPr>
          <p:cNvSpPr>
            <a:spLocks noGrp="1"/>
          </p:cNvSpPr>
          <p:nvPr>
            <p:ph type="body" sz="quarter" idx="21"/>
          </p:nvPr>
        </p:nvSpPr>
        <p:spPr/>
        <p:txBody>
          <a:bodyPr/>
          <a:lstStyle/>
          <a:p>
            <a:endParaRPr lang="nb-NO"/>
          </a:p>
        </p:txBody>
      </p:sp>
      <p:pic>
        <p:nvPicPr>
          <p:cNvPr id="11" name="Bilde 15">
            <a:extLst>
              <a:ext uri="{FF2B5EF4-FFF2-40B4-BE49-F238E27FC236}">
                <a16:creationId xmlns:a16="http://schemas.microsoft.com/office/drawing/2014/main" id="{862A536E-0464-B989-926E-7098280D59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90986" y="2815740"/>
            <a:ext cx="2768290" cy="2768290"/>
          </a:xfrm>
          <a:prstGeom prst="rect">
            <a:avLst/>
          </a:prstGeom>
        </p:spPr>
      </p:pic>
    </p:spTree>
    <p:extLst>
      <p:ext uri="{BB962C8B-B14F-4D97-AF65-F5344CB8AC3E}">
        <p14:creationId xmlns:p14="http://schemas.microsoft.com/office/powerpoint/2010/main" val="353832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026DE04A-DDC3-8AA7-1A01-A0CCC089C406}"/>
              </a:ext>
            </a:extLst>
          </p:cNvPr>
          <p:cNvSpPr>
            <a:spLocks noGrp="1"/>
          </p:cNvSpPr>
          <p:nvPr>
            <p:ph type="body" sz="quarter" idx="14"/>
          </p:nvPr>
        </p:nvSpPr>
        <p:spPr>
          <a:xfrm>
            <a:off x="576000" y="727972"/>
            <a:ext cx="5472215" cy="1365942"/>
          </a:xfrm>
        </p:spPr>
        <p:txBody>
          <a:bodyPr/>
          <a:lstStyle/>
          <a:p>
            <a:r>
              <a:rPr lang="nb-NO" dirty="0"/>
              <a:t>UCO Powerrigg</a:t>
            </a:r>
            <a:endParaRPr lang="en-US" dirty="0"/>
          </a:p>
        </p:txBody>
      </p:sp>
      <p:sp>
        <p:nvSpPr>
          <p:cNvPr id="4" name="Plassholder for tekst 3">
            <a:extLst>
              <a:ext uri="{FF2B5EF4-FFF2-40B4-BE49-F238E27FC236}">
                <a16:creationId xmlns:a16="http://schemas.microsoft.com/office/drawing/2014/main" id="{83F40298-605F-ADB9-835C-1EED139578A8}"/>
              </a:ext>
            </a:extLst>
          </p:cNvPr>
          <p:cNvSpPr>
            <a:spLocks noGrp="1"/>
          </p:cNvSpPr>
          <p:nvPr>
            <p:ph type="body" sz="quarter" idx="20"/>
          </p:nvPr>
        </p:nvSpPr>
        <p:spPr>
          <a:xfrm>
            <a:off x="388795" y="2125200"/>
            <a:ext cx="4741102" cy="1583821"/>
          </a:xfrm>
        </p:spPr>
        <p:txBody>
          <a:bodyPr vert="horz" lIns="0" tIns="0" rIns="0" bIns="0" rtlCol="0" anchor="t">
            <a:noAutofit/>
          </a:bodyPr>
          <a:lstStyle/>
          <a:p>
            <a:pPr marL="6350" indent="0">
              <a:buNone/>
            </a:pPr>
            <a:r>
              <a:rPr lang="nb-NO" sz="2000" dirty="0"/>
              <a:t>Solceller på taket av modulene i ferdige stativer</a:t>
            </a:r>
          </a:p>
          <a:p>
            <a:pPr marL="6350" indent="0">
              <a:buNone/>
            </a:pPr>
            <a:r>
              <a:rPr lang="nb-NO" sz="2000" dirty="0"/>
              <a:t>Ett tak leverer like mye strøm på ett år som modulen forbruker</a:t>
            </a:r>
          </a:p>
          <a:p>
            <a:pPr marL="6350" indent="0">
              <a:buNone/>
            </a:pPr>
            <a:endParaRPr lang="nb-NO" sz="2000" dirty="0"/>
          </a:p>
          <a:p>
            <a:pPr marL="6350" indent="0">
              <a:buNone/>
            </a:pPr>
            <a:r>
              <a:rPr lang="nb-NO" sz="2000" dirty="0"/>
              <a:t>Kan redusere utslipp tilsvarende 500kg CO2 i året.</a:t>
            </a:r>
          </a:p>
        </p:txBody>
      </p:sp>
      <p:sp>
        <p:nvSpPr>
          <p:cNvPr id="7" name="Plassholder for lysbildenummer 6">
            <a:extLst>
              <a:ext uri="{FF2B5EF4-FFF2-40B4-BE49-F238E27FC236}">
                <a16:creationId xmlns:a16="http://schemas.microsoft.com/office/drawing/2014/main" id="{01B9F879-76F2-C458-BAAB-8A78C4436658}"/>
              </a:ext>
            </a:extLst>
          </p:cNvPr>
          <p:cNvSpPr>
            <a:spLocks noGrp="1"/>
          </p:cNvSpPr>
          <p:nvPr>
            <p:ph type="sldNum" sz="quarter" idx="4"/>
          </p:nvPr>
        </p:nvSpPr>
        <p:spPr/>
        <p:txBody>
          <a:bodyPr/>
          <a:lstStyle/>
          <a:p>
            <a:fld id="{EF8DBD5B-30F9-4F9C-AE39-E065C1AC514D}" type="slidenum">
              <a:rPr lang="en-US" noProof="0" smtClean="0"/>
              <a:pPr/>
              <a:t>6</a:t>
            </a:fld>
            <a:endParaRPr lang="en-US" noProof="0"/>
          </a:p>
        </p:txBody>
      </p:sp>
      <p:sp>
        <p:nvSpPr>
          <p:cNvPr id="8" name="Plassholder for tekst 7">
            <a:extLst>
              <a:ext uri="{FF2B5EF4-FFF2-40B4-BE49-F238E27FC236}">
                <a16:creationId xmlns:a16="http://schemas.microsoft.com/office/drawing/2014/main" id="{846D441C-FA53-EB1A-9C22-6C6A3663C924}"/>
              </a:ext>
            </a:extLst>
          </p:cNvPr>
          <p:cNvSpPr>
            <a:spLocks noGrp="1"/>
          </p:cNvSpPr>
          <p:nvPr>
            <p:ph type="body" sz="quarter" idx="21"/>
          </p:nvPr>
        </p:nvSpPr>
        <p:spPr/>
        <p:txBody>
          <a:bodyPr/>
          <a:lstStyle/>
          <a:p>
            <a:endParaRPr lang="nb-NO"/>
          </a:p>
        </p:txBody>
      </p:sp>
      <p:sp>
        <p:nvSpPr>
          <p:cNvPr id="5" name="Picture Placeholder 4">
            <a:extLst>
              <a:ext uri="{FF2B5EF4-FFF2-40B4-BE49-F238E27FC236}">
                <a16:creationId xmlns:a16="http://schemas.microsoft.com/office/drawing/2014/main" id="{B019BB8F-5FED-4D89-2690-F330E26C30ED}"/>
              </a:ext>
            </a:extLst>
          </p:cNvPr>
          <p:cNvSpPr>
            <a:spLocks noGrp="1"/>
          </p:cNvSpPr>
          <p:nvPr>
            <p:ph type="pic" sz="quarter" idx="18"/>
          </p:nvPr>
        </p:nvSpPr>
        <p:spPr/>
      </p:sp>
      <p:pic>
        <p:nvPicPr>
          <p:cNvPr id="9" name="Bilde 7" descr="A picture containing outdoor, grass, solar cell&#10;&#10;Description automatically generated">
            <a:extLst>
              <a:ext uri="{FF2B5EF4-FFF2-40B4-BE49-F238E27FC236}">
                <a16:creationId xmlns:a16="http://schemas.microsoft.com/office/drawing/2014/main" id="{785B835E-FFFA-1DA0-0366-42C3152E528A}"/>
              </a:ext>
            </a:extLst>
          </p:cNvPr>
          <p:cNvPicPr>
            <a:picLocks noChangeAspect="1"/>
          </p:cNvPicPr>
          <p:nvPr/>
        </p:nvPicPr>
        <p:blipFill rotWithShape="1">
          <a:blip r:embed="rId2">
            <a:extLst>
              <a:ext uri="{28A0092B-C50C-407E-A947-70E740481C1C}">
                <a14:useLocalDpi xmlns:a14="http://schemas.microsoft.com/office/drawing/2010/main" val="0"/>
              </a:ext>
            </a:extLst>
          </a:blip>
          <a:srcRect l="8726" r="18431" b="8627"/>
          <a:stretch/>
        </p:blipFill>
        <p:spPr>
          <a:xfrm>
            <a:off x="5533382" y="3973"/>
            <a:ext cx="6660777" cy="6850874"/>
          </a:xfrm>
          <a:prstGeom prst="rect">
            <a:avLst/>
          </a:prstGeom>
        </p:spPr>
      </p:pic>
    </p:spTree>
    <p:extLst>
      <p:ext uri="{BB962C8B-B14F-4D97-AF65-F5344CB8AC3E}">
        <p14:creationId xmlns:p14="http://schemas.microsoft.com/office/powerpoint/2010/main" val="4903238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lassholder for bilde 9">
            <a:extLst>
              <a:ext uri="{FF2B5EF4-FFF2-40B4-BE49-F238E27FC236}">
                <a16:creationId xmlns:a16="http://schemas.microsoft.com/office/drawing/2014/main" id="{4D9A8097-A6BA-C92C-91CE-0002A69A5617}"/>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l="25000" r="25000"/>
          <a:stretch>
            <a:fillRect/>
          </a:stretch>
        </p:blipFill>
        <p:spPr>
          <a:xfrm>
            <a:off x="7819380" y="0"/>
            <a:ext cx="4371030" cy="4898567"/>
          </a:xfrm>
        </p:spPr>
      </p:pic>
      <p:sp>
        <p:nvSpPr>
          <p:cNvPr id="3" name="Plassholder for tekst 2">
            <a:extLst>
              <a:ext uri="{FF2B5EF4-FFF2-40B4-BE49-F238E27FC236}">
                <a16:creationId xmlns:a16="http://schemas.microsoft.com/office/drawing/2014/main" id="{67176F13-7B60-2EF0-1516-787FA1669D3B}"/>
              </a:ext>
            </a:extLst>
          </p:cNvPr>
          <p:cNvSpPr>
            <a:spLocks noGrp="1"/>
          </p:cNvSpPr>
          <p:nvPr>
            <p:ph type="body" sz="quarter" idx="14"/>
          </p:nvPr>
        </p:nvSpPr>
        <p:spPr/>
        <p:txBody>
          <a:bodyPr/>
          <a:lstStyle/>
          <a:p>
            <a:r>
              <a:rPr lang="nb-NO" dirty="0"/>
              <a:t>LED lavenergibelysning</a:t>
            </a:r>
          </a:p>
        </p:txBody>
      </p:sp>
      <p:sp>
        <p:nvSpPr>
          <p:cNvPr id="4" name="Plassholder for tekst 3">
            <a:extLst>
              <a:ext uri="{FF2B5EF4-FFF2-40B4-BE49-F238E27FC236}">
                <a16:creationId xmlns:a16="http://schemas.microsoft.com/office/drawing/2014/main" id="{B9AA8CBD-6E76-9CFF-A15B-65C7E387CC07}"/>
              </a:ext>
            </a:extLst>
          </p:cNvPr>
          <p:cNvSpPr>
            <a:spLocks noGrp="1"/>
          </p:cNvSpPr>
          <p:nvPr>
            <p:ph type="body" sz="quarter" idx="20"/>
          </p:nvPr>
        </p:nvSpPr>
        <p:spPr>
          <a:xfrm>
            <a:off x="576000" y="1415650"/>
            <a:ext cx="5368752" cy="1130231"/>
          </a:xfrm>
        </p:spPr>
        <p:txBody>
          <a:bodyPr vert="horz" lIns="0" tIns="0" rIns="0" bIns="0" rtlCol="0" anchor="t">
            <a:noAutofit/>
          </a:bodyPr>
          <a:lstStyle/>
          <a:p>
            <a:pPr marL="182245" indent="-175895"/>
            <a:r>
              <a:rPr lang="nb-NO" dirty="0"/>
              <a:t>Lyskastermast</a:t>
            </a:r>
            <a:r>
              <a:rPr lang="nb-NO" sz="1800" dirty="0"/>
              <a:t>,</a:t>
            </a:r>
            <a:r>
              <a:rPr lang="da-DK" dirty="0"/>
              <a:t> </a:t>
            </a:r>
            <a:r>
              <a:rPr lang="da-DK" sz="1800" dirty="0" err="1"/>
              <a:t>nødlys</a:t>
            </a:r>
            <a:r>
              <a:rPr lang="da-DK" sz="1800" dirty="0"/>
              <a:t>,</a:t>
            </a:r>
            <a:r>
              <a:rPr lang="da-DK" dirty="0"/>
              <a:t> </a:t>
            </a:r>
            <a:r>
              <a:rPr lang="nb-NO" sz="1800" dirty="0"/>
              <a:t>rekkebelysning </a:t>
            </a:r>
            <a:r>
              <a:rPr lang="nb-NO" dirty="0"/>
              <a:t>med inntil 80% energibesparelse</a:t>
            </a:r>
          </a:p>
          <a:p>
            <a:pPr marL="182245" indent="-175895"/>
            <a:endParaRPr lang="nb-NO" dirty="0"/>
          </a:p>
        </p:txBody>
      </p:sp>
      <p:sp>
        <p:nvSpPr>
          <p:cNvPr id="7" name="Plassholder for lysbildenummer 6">
            <a:extLst>
              <a:ext uri="{FF2B5EF4-FFF2-40B4-BE49-F238E27FC236}">
                <a16:creationId xmlns:a16="http://schemas.microsoft.com/office/drawing/2014/main" id="{92457536-848A-B42C-1D61-9FDFA5E9F5C7}"/>
              </a:ext>
            </a:extLst>
          </p:cNvPr>
          <p:cNvSpPr>
            <a:spLocks noGrp="1"/>
          </p:cNvSpPr>
          <p:nvPr>
            <p:ph type="sldNum" sz="quarter" idx="4"/>
          </p:nvPr>
        </p:nvSpPr>
        <p:spPr/>
        <p:txBody>
          <a:bodyPr/>
          <a:lstStyle/>
          <a:p>
            <a:fld id="{EF8DBD5B-30F9-4F9C-AE39-E065C1AC514D}" type="slidenum">
              <a:rPr lang="en-US" noProof="0" smtClean="0"/>
              <a:pPr/>
              <a:t>7</a:t>
            </a:fld>
            <a:endParaRPr lang="en-US" noProof="0"/>
          </a:p>
        </p:txBody>
      </p:sp>
      <p:sp>
        <p:nvSpPr>
          <p:cNvPr id="8" name="Plassholder for tekst 7">
            <a:extLst>
              <a:ext uri="{FF2B5EF4-FFF2-40B4-BE49-F238E27FC236}">
                <a16:creationId xmlns:a16="http://schemas.microsoft.com/office/drawing/2014/main" id="{F596A105-6DD6-544A-4E98-2962ABC51CFC}"/>
              </a:ext>
            </a:extLst>
          </p:cNvPr>
          <p:cNvSpPr>
            <a:spLocks noGrp="1"/>
          </p:cNvSpPr>
          <p:nvPr>
            <p:ph type="body" sz="quarter" idx="21"/>
          </p:nvPr>
        </p:nvSpPr>
        <p:spPr/>
        <p:txBody>
          <a:bodyPr/>
          <a:lstStyle/>
          <a:p>
            <a:endParaRPr lang="nb-NO"/>
          </a:p>
        </p:txBody>
      </p:sp>
      <p:sp>
        <p:nvSpPr>
          <p:cNvPr id="5" name="Plassholder for tekst 2">
            <a:extLst>
              <a:ext uri="{FF2B5EF4-FFF2-40B4-BE49-F238E27FC236}">
                <a16:creationId xmlns:a16="http://schemas.microsoft.com/office/drawing/2014/main" id="{3FA0489E-664A-ADAA-54A8-AF2D2CF1DE44}"/>
              </a:ext>
            </a:extLst>
          </p:cNvPr>
          <p:cNvSpPr txBox="1">
            <a:spLocks/>
          </p:cNvSpPr>
          <p:nvPr/>
        </p:nvSpPr>
        <p:spPr>
          <a:xfrm>
            <a:off x="544180" y="2800987"/>
            <a:ext cx="5367178" cy="1365942"/>
          </a:xfrm>
          <a:prstGeom prst="rect">
            <a:avLst/>
          </a:prstGeom>
        </p:spPr>
        <p:txBody>
          <a:bodyPr vert="horz" lIns="0" tIns="0" rIns="0" bIns="0" rtlCol="0" anchor="t">
            <a:noAutofit/>
          </a:bodyPr>
          <a:lstStyle>
            <a:lvl1pPr marL="0" indent="0" algn="l" defTabSz="914400" rtl="0" eaLnBrk="1" latinLnBrk="0" hangingPunct="1">
              <a:lnSpc>
                <a:spcPct val="85000"/>
              </a:lnSpc>
              <a:spcBef>
                <a:spcPts val="0"/>
              </a:spcBef>
              <a:spcAft>
                <a:spcPts val="0"/>
              </a:spcAft>
              <a:buFont typeface="Arial" panose="020B0604020202020204" pitchFamily="34" charset="0"/>
              <a:buNone/>
              <a:tabLst/>
              <a:defRPr sz="3600" b="0" kern="1200" spc="40" baseline="0">
                <a:solidFill>
                  <a:schemeClr val="tx2"/>
                </a:solidFill>
                <a:latin typeface="+mj-lt"/>
                <a:ea typeface="+mn-ea"/>
                <a:cs typeface="+mn-cs"/>
              </a:defRPr>
            </a:lvl1pPr>
            <a:lvl2pPr marL="357188" indent="-176213" algn="l" defTabSz="914400" rtl="0" eaLnBrk="1" latinLnBrk="0" hangingPunct="1">
              <a:lnSpc>
                <a:spcPct val="100000"/>
              </a:lnSpc>
              <a:spcBef>
                <a:spcPts val="500"/>
              </a:spcBef>
              <a:spcAft>
                <a:spcPts val="0"/>
              </a:spcAft>
              <a:buFont typeface="Arial" panose="020B0604020202020204" pitchFamily="34" charset="0"/>
              <a:buChar char="•"/>
              <a:tabLst/>
              <a:defRPr sz="1800" kern="1200" spc="40" baseline="0">
                <a:solidFill>
                  <a:schemeClr val="tx2"/>
                </a:solidFill>
                <a:latin typeface="+mn-lt"/>
                <a:ea typeface="+mn-ea"/>
                <a:cs typeface="+mn-cs"/>
              </a:defRPr>
            </a:lvl2pPr>
            <a:lvl3pPr marL="534988" indent="-177800" algn="l" defTabSz="914400" rtl="0" eaLnBrk="1" latinLnBrk="0" hangingPunct="1">
              <a:lnSpc>
                <a:spcPct val="100000"/>
              </a:lnSpc>
              <a:spcBef>
                <a:spcPts val="500"/>
              </a:spcBef>
              <a:spcAft>
                <a:spcPts val="0"/>
              </a:spcAft>
              <a:buFont typeface="Arial" panose="020B0604020202020204" pitchFamily="34" charset="0"/>
              <a:buChar char="•"/>
              <a:tabLst/>
              <a:defRPr sz="1600" kern="1200" spc="40" baseline="0">
                <a:solidFill>
                  <a:schemeClr val="tx2"/>
                </a:solidFill>
                <a:latin typeface="+mn-lt"/>
                <a:ea typeface="+mn-ea"/>
                <a:cs typeface="+mn-cs"/>
              </a:defRPr>
            </a:lvl3pPr>
            <a:lvl4pPr marL="715963" indent="-1764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4pPr>
            <a:lvl5pPr marL="892175" indent="-176213"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Varmepumper for byggeplass</a:t>
            </a:r>
          </a:p>
        </p:txBody>
      </p:sp>
      <p:sp>
        <p:nvSpPr>
          <p:cNvPr id="9" name="Plassholder for tekst 3">
            <a:extLst>
              <a:ext uri="{FF2B5EF4-FFF2-40B4-BE49-F238E27FC236}">
                <a16:creationId xmlns:a16="http://schemas.microsoft.com/office/drawing/2014/main" id="{5C64F0D3-270B-E05E-1010-0EBFE6EF7668}"/>
              </a:ext>
            </a:extLst>
          </p:cNvPr>
          <p:cNvSpPr txBox="1">
            <a:spLocks/>
          </p:cNvSpPr>
          <p:nvPr/>
        </p:nvSpPr>
        <p:spPr>
          <a:xfrm>
            <a:off x="544180" y="4130380"/>
            <a:ext cx="5368752" cy="1130231"/>
          </a:xfrm>
          <a:prstGeom prst="rect">
            <a:avLst/>
          </a:prstGeom>
        </p:spPr>
        <p:txBody>
          <a:bodyPr vert="horz" lIns="0" tIns="0" rIns="0" bIns="0" rtlCol="0" anchor="t">
            <a:noAutofit/>
          </a:bodyPr>
          <a:lstStyle>
            <a:lvl1pPr marL="182563" indent="-176213" algn="l" defTabSz="914400" rtl="0" eaLnBrk="1" latinLnBrk="0" hangingPunct="1">
              <a:lnSpc>
                <a:spcPct val="100000"/>
              </a:lnSpc>
              <a:spcBef>
                <a:spcPts val="1000"/>
              </a:spcBef>
              <a:spcAft>
                <a:spcPts val="0"/>
              </a:spcAft>
              <a:buFont typeface="Arial" panose="020B0604020202020204" pitchFamily="34" charset="0"/>
              <a:buChar char="•"/>
              <a:tabLst/>
              <a:defRPr sz="1800" b="0" kern="1200" spc="40" baseline="0">
                <a:solidFill>
                  <a:schemeClr val="tx2"/>
                </a:solidFill>
                <a:latin typeface="+mn-lt"/>
                <a:ea typeface="+mn-ea"/>
                <a:cs typeface="+mn-cs"/>
              </a:defRPr>
            </a:lvl1pPr>
            <a:lvl2pPr marL="357188" indent="-176213" algn="l" defTabSz="914400" rtl="0" eaLnBrk="1" latinLnBrk="0" hangingPunct="1">
              <a:lnSpc>
                <a:spcPct val="100000"/>
              </a:lnSpc>
              <a:spcBef>
                <a:spcPts val="500"/>
              </a:spcBef>
              <a:spcAft>
                <a:spcPts val="0"/>
              </a:spcAft>
              <a:buFont typeface="Arial" panose="020B0604020202020204" pitchFamily="34" charset="0"/>
              <a:buChar char="•"/>
              <a:tabLst/>
              <a:defRPr sz="1800" kern="1200" spc="40" baseline="0">
                <a:solidFill>
                  <a:schemeClr val="tx2"/>
                </a:solidFill>
                <a:latin typeface="+mn-lt"/>
                <a:ea typeface="+mn-ea"/>
                <a:cs typeface="+mn-cs"/>
              </a:defRPr>
            </a:lvl2pPr>
            <a:lvl3pPr marL="534988" indent="-177800" algn="l" defTabSz="914400" rtl="0" eaLnBrk="1" latinLnBrk="0" hangingPunct="1">
              <a:lnSpc>
                <a:spcPct val="100000"/>
              </a:lnSpc>
              <a:spcBef>
                <a:spcPts val="500"/>
              </a:spcBef>
              <a:spcAft>
                <a:spcPts val="0"/>
              </a:spcAft>
              <a:buFont typeface="Arial" panose="020B0604020202020204" pitchFamily="34" charset="0"/>
              <a:buChar char="•"/>
              <a:tabLst/>
              <a:defRPr sz="1600" kern="1200" spc="40" baseline="0">
                <a:solidFill>
                  <a:schemeClr val="tx2"/>
                </a:solidFill>
                <a:latin typeface="+mn-lt"/>
                <a:ea typeface="+mn-ea"/>
                <a:cs typeface="+mn-cs"/>
              </a:defRPr>
            </a:lvl3pPr>
            <a:lvl4pPr marL="715963" indent="-1764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4pPr>
            <a:lvl5pPr marL="892175" indent="-176213"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245" indent="-175895"/>
            <a:r>
              <a:rPr lang="nb-NO" dirty="0"/>
              <a:t>80 kW, energieffektiv oppvarming</a:t>
            </a:r>
          </a:p>
          <a:p>
            <a:pPr marL="182245" indent="-175895"/>
            <a:endParaRPr lang="nb-NO" dirty="0"/>
          </a:p>
        </p:txBody>
      </p:sp>
      <p:pic>
        <p:nvPicPr>
          <p:cNvPr id="2" name="Picture 5" descr="A picture containing snow, sky, outdoor&#10;&#10;Description automatically generated">
            <a:extLst>
              <a:ext uri="{FF2B5EF4-FFF2-40B4-BE49-F238E27FC236}">
                <a16:creationId xmlns:a16="http://schemas.microsoft.com/office/drawing/2014/main" id="{CFACCE79-349E-0FC4-EFCA-1828FC08C0EC}"/>
              </a:ext>
            </a:extLst>
          </p:cNvPr>
          <p:cNvPicPr>
            <a:picLocks noChangeAspect="1"/>
          </p:cNvPicPr>
          <p:nvPr/>
        </p:nvPicPr>
        <p:blipFill>
          <a:blip r:embed="rId3"/>
          <a:stretch>
            <a:fillRect/>
          </a:stretch>
        </p:blipFill>
        <p:spPr>
          <a:xfrm>
            <a:off x="7822642" y="3671696"/>
            <a:ext cx="4367683" cy="3182254"/>
          </a:xfrm>
          <a:prstGeom prst="rect">
            <a:avLst/>
          </a:prstGeom>
        </p:spPr>
      </p:pic>
    </p:spTree>
    <p:extLst>
      <p:ext uri="{BB962C8B-B14F-4D97-AF65-F5344CB8AC3E}">
        <p14:creationId xmlns:p14="http://schemas.microsoft.com/office/powerpoint/2010/main" val="17460719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Rx3b7lk7lyviX2kgx9ZXw"/>
</p:tagLst>
</file>

<file path=ppt/theme/_rels/theme3.xml.rels><?xml version="1.0" encoding="UTF-8" standalone="yes"?>
<Relationships xmlns="http://schemas.openxmlformats.org/package/2006/relationships"><Relationship Id="rId1" Type="http://schemas.openxmlformats.org/officeDocument/2006/relationships/image" Target="../media/image7.png"/></Relationships>
</file>

<file path=ppt/theme/theme1.xml><?xml version="1.0" encoding="utf-8"?>
<a:theme xmlns:a="http://schemas.openxmlformats.org/drawingml/2006/main" name="Skanska Gray (Presentation)">
  <a:themeElements>
    <a:clrScheme name="Skanska 4">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FFFFFF"/>
      </a:accent6>
      <a:hlink>
        <a:srgbClr val="143275"/>
      </a:hlink>
      <a:folHlink>
        <a:srgbClr val="143275"/>
      </a:folHlink>
    </a:clrScheme>
    <a:fontScheme name="Skanska Shape Sans">
      <a:majorFont>
        <a:latin typeface="Shape Sans Display"/>
        <a:ea typeface=""/>
        <a:cs typeface=""/>
      </a:majorFont>
      <a:minorFont>
        <a:latin typeface="Shap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accent1"/>
            </a:solidFill>
          </a:defRPr>
        </a:defPPr>
      </a:lstStyle>
    </a:txDef>
  </a:objectDefaults>
  <a:extraClrSchemeLst/>
  <a:custClrLst>
    <a:custClr name="Active Blue">
      <a:srgbClr val="2356E5"/>
    </a:custClr>
    <a:custClr name="Skanska Green">
      <a:srgbClr val="AEDDBC"/>
    </a:custClr>
    <a:custClr name="Active Yellow">
      <a:srgbClr val="FBED54"/>
    </a:custClr>
    <a:custClr name="Active Orange">
      <a:srgbClr val="F58713"/>
    </a:custClr>
    <a:custClr name="Active Red">
      <a:srgbClr val="EE2F53"/>
    </a:custClr>
    <a:custClr name="Purple">
      <a:srgbClr val="824A8E"/>
    </a:custClr>
    <a:custClr name="Pale Blue">
      <a:srgbClr val="3C589E"/>
    </a:custClr>
    <a:custClr name="Teal">
      <a:srgbClr val="4B9FA3"/>
    </a:custClr>
    <a:custClr name="Beige">
      <a:srgbClr val="DDD6C0"/>
    </a:custClr>
    <a:custClr name="Yellow">
      <a:srgbClr val="F4DD7D"/>
    </a:custClr>
    <a:custClr name="Orange">
      <a:srgbClr val="EDA977"/>
    </a:custClr>
    <a:custClr name="Red">
      <a:srgbClr val="AF3149"/>
    </a:custClr>
  </a:custClrLst>
  <a:extLst>
    <a:ext uri="{05A4C25C-085E-4340-85A3-A5531E510DB2}">
      <thm15:themeFamily xmlns:thm15="http://schemas.microsoft.com/office/thememl/2012/main" name="Presentation6" id="{2FA8DA72-2304-B545-A7F7-FF56C2A5722A}" vid="{FF0A0E44-1157-1A49-959B-A2F3DEB9DA8F}"/>
    </a:ext>
  </a:extLst>
</a:theme>
</file>

<file path=ppt/theme/theme2.xml><?xml version="1.0" encoding="utf-8"?>
<a:theme xmlns:a="http://schemas.openxmlformats.org/drawingml/2006/main" name="Skanska White (Documentation)">
  <a:themeElements>
    <a:clrScheme name="Skanska 5">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ECECEC"/>
      </a:accent6>
      <a:hlink>
        <a:srgbClr val="143275"/>
      </a:hlink>
      <a:folHlink>
        <a:srgbClr val="143275"/>
      </a:folHlink>
    </a:clrScheme>
    <a:fontScheme name="Skanska Shape Sans">
      <a:majorFont>
        <a:latin typeface="Shape Sans Display"/>
        <a:ea typeface=""/>
        <a:cs typeface=""/>
      </a:majorFont>
      <a:minorFont>
        <a:latin typeface="Shap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spc="40" dirty="0" smtClean="0">
            <a:solidFill>
              <a:schemeClr val="tx2"/>
            </a:solidFill>
          </a:defRPr>
        </a:defPPr>
      </a:lstStyle>
    </a:txDef>
  </a:objectDefaults>
  <a:extraClrSchemeLst/>
  <a:custClrLst>
    <a:custClr name="Active Blue">
      <a:srgbClr val="2356E5"/>
    </a:custClr>
    <a:custClr name="Skanska Green">
      <a:srgbClr val="AEDDBC"/>
    </a:custClr>
    <a:custClr name="Active Yellow">
      <a:srgbClr val="FBED54"/>
    </a:custClr>
    <a:custClr name="Active Orange">
      <a:srgbClr val="F58713"/>
    </a:custClr>
    <a:custClr name="Active Red">
      <a:srgbClr val="EE2F53"/>
    </a:custClr>
    <a:custClr name="Purple">
      <a:srgbClr val="824A8E"/>
    </a:custClr>
    <a:custClr name="Pale Blue">
      <a:srgbClr val="3C589E"/>
    </a:custClr>
    <a:custClr name="Teal">
      <a:srgbClr val="4B9FA3"/>
    </a:custClr>
    <a:custClr name="Beige">
      <a:srgbClr val="DDD6C0"/>
    </a:custClr>
    <a:custClr name="Yellow">
      <a:srgbClr val="F4DD7D"/>
    </a:custClr>
    <a:custClr name="Orange">
      <a:srgbClr val="EDA977"/>
    </a:custClr>
    <a:custClr name="Red">
      <a:srgbClr val="AF3149"/>
    </a:custClr>
  </a:custClrLst>
  <a:extLst>
    <a:ext uri="{05A4C25C-085E-4340-85A3-A5531E510DB2}">
      <thm15:themeFamily xmlns:thm15="http://schemas.microsoft.com/office/thememl/2012/main" name="Presentation6" id="{2FA8DA72-2304-B545-A7F7-FF56C2A5722A}" vid="{3CAF08F0-69F9-F94C-8F7D-819272A63BC5}"/>
    </a:ext>
  </a:extLst>
</a:theme>
</file>

<file path=ppt/theme/theme3.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267dbed-dea9-4161-8ec7-c066ff1e1d3b">
      <Terms xmlns="http://schemas.microsoft.com/office/infopath/2007/PartnerControls"/>
    </lcf76f155ced4ddcb4097134ff3c332f>
    <TaxCatchAll xmlns="6a60e943-f51f-4cb4-93c5-6ac36b6b773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DAAC2577AF8344B8F819AD7EFC58F07" ma:contentTypeVersion="16" ma:contentTypeDescription="Create a new document." ma:contentTypeScope="" ma:versionID="0ef09a5b60b59ef56c7a3ca876d75560">
  <xsd:schema xmlns:xsd="http://www.w3.org/2001/XMLSchema" xmlns:xs="http://www.w3.org/2001/XMLSchema" xmlns:p="http://schemas.microsoft.com/office/2006/metadata/properties" xmlns:ns2="1267dbed-dea9-4161-8ec7-c066ff1e1d3b" xmlns:ns3="6a60e943-f51f-4cb4-93c5-6ac36b6b773a" targetNamespace="http://schemas.microsoft.com/office/2006/metadata/properties" ma:root="true" ma:fieldsID="3c51d06024d3650fdfc2c2e77b16fd3a" ns2:_="" ns3:_="">
    <xsd:import namespace="1267dbed-dea9-4161-8ec7-c066ff1e1d3b"/>
    <xsd:import namespace="6a60e943-f51f-4cb4-93c5-6ac36b6b773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Location" minOccurs="0"/>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67dbed-dea9-4161-8ec7-c066ff1e1d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d533c6e3-e9ba-409f-9000-32e1bbf302fd" ma:termSetId="09814cd3-568e-fe90-9814-8d621ff8fb84" ma:anchorId="fba54fb3-c3e1-fe81-a776-ca4b69148c4d" ma:open="true" ma:isKeyword="false">
      <xsd:complexType>
        <xsd:sequence>
          <xsd:element ref="pc:Terms" minOccurs="0" maxOccurs="1"/>
        </xsd:sequence>
      </xsd:complex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a60e943-f51f-4cb4-93c5-6ac36b6b773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e63ac61-2d25-4368-b73e-c1641e9806e2}" ma:internalName="TaxCatchAll" ma:showField="CatchAllData" ma:web="6a60e943-f51f-4cb4-93c5-6ac36b6b773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FCA854-E955-4DF3-823F-7F43F9EBF740}">
  <ds:schemaRefs>
    <ds:schemaRef ds:uri="http://schemas.microsoft.com/sharepoint/v3/contenttype/forms"/>
  </ds:schemaRefs>
</ds:datastoreItem>
</file>

<file path=customXml/itemProps2.xml><?xml version="1.0" encoding="utf-8"?>
<ds:datastoreItem xmlns:ds="http://schemas.openxmlformats.org/officeDocument/2006/customXml" ds:itemID="{A645E4BD-EB26-4A19-8B39-1E804887ED62}">
  <ds:schemaRefs>
    <ds:schemaRef ds:uri="http://schemas.microsoft.com/office/2006/documentManagement/types"/>
    <ds:schemaRef ds:uri="http://purl.org/dc/elements/1.1/"/>
    <ds:schemaRef ds:uri="6a60e943-f51f-4cb4-93c5-6ac36b6b773a"/>
    <ds:schemaRef ds:uri="http://purl.org/dc/terms/"/>
    <ds:schemaRef ds:uri="http://www.w3.org/XML/1998/namespace"/>
    <ds:schemaRef ds:uri="http://schemas.microsoft.com/office/2006/metadata/properties"/>
    <ds:schemaRef ds:uri="http://purl.org/dc/dcmitype/"/>
    <ds:schemaRef ds:uri="http://schemas.microsoft.com/office/infopath/2007/PartnerControls"/>
    <ds:schemaRef ds:uri="http://schemas.openxmlformats.org/package/2006/metadata/core-properties"/>
    <ds:schemaRef ds:uri="1267dbed-dea9-4161-8ec7-c066ff1e1d3b"/>
  </ds:schemaRefs>
</ds:datastoreItem>
</file>

<file path=customXml/itemProps3.xml><?xml version="1.0" encoding="utf-8"?>
<ds:datastoreItem xmlns:ds="http://schemas.openxmlformats.org/officeDocument/2006/customXml" ds:itemID="{B4487126-3D6E-4612-BC86-D706271301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67dbed-dea9-4161-8ec7-c066ff1e1d3b"/>
    <ds:schemaRef ds:uri="6a60e943-f51f-4cb4-93c5-6ac36b6b77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lobal template (EN) Shape Sans</Template>
  <TotalTime>378</TotalTime>
  <Words>508</Words>
  <Application>Microsoft Office PowerPoint</Application>
  <PresentationFormat>Widescreen</PresentationFormat>
  <Paragraphs>43</Paragraphs>
  <Slides>7</Slides>
  <Notes>3</Notes>
  <HiddenSlides>0</HiddenSlides>
  <MMClips>0</MMClips>
  <ScaleCrop>false</ScaleCrop>
  <HeadingPairs>
    <vt:vector size="8" baseType="variant">
      <vt:variant>
        <vt:lpstr>Brukte skrifter</vt:lpstr>
      </vt:variant>
      <vt:variant>
        <vt:i4>6</vt:i4>
      </vt:variant>
      <vt:variant>
        <vt:lpstr>Tema</vt:lpstr>
      </vt:variant>
      <vt:variant>
        <vt:i4>3</vt:i4>
      </vt:variant>
      <vt:variant>
        <vt:lpstr>Innebygde OLE-servere</vt:lpstr>
      </vt:variant>
      <vt:variant>
        <vt:i4>1</vt:i4>
      </vt:variant>
      <vt:variant>
        <vt:lpstr>Lysbildetitler</vt:lpstr>
      </vt:variant>
      <vt:variant>
        <vt:i4>7</vt:i4>
      </vt:variant>
    </vt:vector>
  </HeadingPairs>
  <TitlesOfParts>
    <vt:vector size="17" baseType="lpstr">
      <vt:lpstr>Arial</vt:lpstr>
      <vt:lpstr>Calibri</vt:lpstr>
      <vt:lpstr>Helvetica Light</vt:lpstr>
      <vt:lpstr>Shape Sans</vt:lpstr>
      <vt:lpstr>Shape Sans Display</vt:lpstr>
      <vt:lpstr>System Font Regular</vt:lpstr>
      <vt:lpstr>Skanska Gray (Presentation)</vt:lpstr>
      <vt:lpstr>Skanska White (Documentation)</vt:lpstr>
      <vt:lpstr>White</vt:lpstr>
      <vt:lpstr>think-cell Slide</vt:lpstr>
      <vt:lpstr>PowerPoint-presentasjon</vt:lpstr>
      <vt:lpstr>PowerPoint-presentasjon</vt:lpstr>
      <vt:lpstr>PowerPoint-presentasjon</vt:lpstr>
      <vt:lpstr>PowerPoint-presentasjon</vt:lpstr>
      <vt:lpstr>PowerPoint-presentasjon</vt:lpstr>
      <vt:lpstr>PowerPoint-presentasjon</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kanger, Randi Andersen</dc:creator>
  <cp:lastModifiedBy>Christopher Griffiths</cp:lastModifiedBy>
  <cp:revision>143</cp:revision>
  <dcterms:created xsi:type="dcterms:W3CDTF">2022-10-06T11:41:12Z</dcterms:created>
  <dcterms:modified xsi:type="dcterms:W3CDTF">2023-11-01T14:3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379ec1e-7734-4071-a4b9-9f091c05fa90_Enabled">
    <vt:lpwstr>true</vt:lpwstr>
  </property>
  <property fmtid="{D5CDD505-2E9C-101B-9397-08002B2CF9AE}" pid="3" name="MSIP_Label_6379ec1e-7734-4071-a4b9-9f091c05fa90_SetDate">
    <vt:lpwstr>2021-12-06T07:54:12Z</vt:lpwstr>
  </property>
  <property fmtid="{D5CDD505-2E9C-101B-9397-08002B2CF9AE}" pid="4" name="MSIP_Label_6379ec1e-7734-4071-a4b9-9f091c05fa90_Method">
    <vt:lpwstr>Standard</vt:lpwstr>
  </property>
  <property fmtid="{D5CDD505-2E9C-101B-9397-08002B2CF9AE}" pid="5" name="MSIP_Label_6379ec1e-7734-4071-a4b9-9f091c05fa90_Name">
    <vt:lpwstr>General-No-Marking</vt:lpwstr>
  </property>
  <property fmtid="{D5CDD505-2E9C-101B-9397-08002B2CF9AE}" pid="6" name="MSIP_Label_6379ec1e-7734-4071-a4b9-9f091c05fa90_SiteId">
    <vt:lpwstr>33dab507-5210-4075-805b-f2717d8cfa74</vt:lpwstr>
  </property>
  <property fmtid="{D5CDD505-2E9C-101B-9397-08002B2CF9AE}" pid="7" name="MSIP_Label_6379ec1e-7734-4071-a4b9-9f091c05fa90_ActionId">
    <vt:lpwstr>ffeea1b0-5e4e-4655-9792-f5f4cd19fb97</vt:lpwstr>
  </property>
  <property fmtid="{D5CDD505-2E9C-101B-9397-08002B2CF9AE}" pid="8" name="MSIP_Label_6379ec1e-7734-4071-a4b9-9f091c05fa90_ContentBits">
    <vt:lpwstr>0</vt:lpwstr>
  </property>
  <property fmtid="{D5CDD505-2E9C-101B-9397-08002B2CF9AE}" pid="9" name="ContentTypeId">
    <vt:lpwstr>0x010100BDAAC2577AF8344B8F819AD7EFC58F07</vt:lpwstr>
  </property>
  <property fmtid="{D5CDD505-2E9C-101B-9397-08002B2CF9AE}" pid="10" name="MediaServiceImageTags">
    <vt:lpwstr/>
  </property>
</Properties>
</file>